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6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51.xml" ContentType="application/vnd.openxmlformats-officedocument.presentationml.tags+xml"/>
  <Override PartName="/ppt/notesSlides/notesSlide6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7" r:id="rId6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61.xml" Id="rId64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5.vml.rels>&#65279;<?xml version="1.0" encoding="utf-8"?><Relationships xmlns="http://schemas.openxmlformats.org/package/2006/relationships"><Relationship Type="http://schemas.openxmlformats.org/officeDocument/2006/relationships/image" Target="/ppt/media/image77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61.xml.rels>&#65279;<?xml version="1.0" encoding="utf-8"?><Relationships xmlns="http://schemas.openxmlformats.org/package/2006/relationships"><Relationship Type="http://schemas.openxmlformats.org/officeDocument/2006/relationships/slide" Target="/ppt/slides/slide61.xml" Id="rId2" /><Relationship Type="http://schemas.openxmlformats.org/officeDocument/2006/relationships/notesMaster" Target="/ppt/notesMasters/notesMaster1.xml" Id="rId1" /></Relationship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72569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6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51.xml" Id="rId2" /><Relationship Type="http://schemas.openxmlformats.org/officeDocument/2006/relationships/vmlDrawing" Target="/ppt/drawings/vmlDrawing65.vml" Id="rId1" /><Relationship Type="http://schemas.openxmlformats.org/officeDocument/2006/relationships/image" Target="/ppt/media/image77.emf" Id="rId6" /><Relationship Type="http://schemas.openxmlformats.org/officeDocument/2006/relationships/oleObject" Target="/ppt/embeddings/oleObject65.bin" Id="rId5" /><Relationship Type="http://schemas.openxmlformats.org/officeDocument/2006/relationships/notesSlide" Target="/ppt/notesSlides/notesSlide61.xml" Id="rId4" /></Relationships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91EFFD-E089-F146-0D2C-C15C1581A0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98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EFFD-E089-F146-0D2C-C15C1581A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15">
            <a:extLst>
              <a:ext uri="{FF2B5EF4-FFF2-40B4-BE49-F238E27FC236}">
                <a16:creationId xmlns:a16="http://schemas.microsoft.com/office/drawing/2014/main" id="{068ABC6B-871F-8739-3E90-70B3C44B71FE}"/>
              </a:ext>
            </a:extLst>
          </p:cNvPr>
          <p:cNvGrpSpPr>
            <a:grpSpLocks/>
          </p:cNvGrpSpPr>
          <p:nvPr/>
        </p:nvGrpSpPr>
        <p:grpSpPr>
          <a:xfrm>
            <a:off x="4189649" y="1272605"/>
            <a:ext cx="3390246" cy="5182586"/>
            <a:chOff x="1365250" y="1143000"/>
            <a:chExt cx="4313238" cy="543242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674DE8AF-D981-1375-460C-35A90A374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988" y="2566988"/>
              <a:ext cx="1460500" cy="1357313"/>
            </a:xfrm>
            <a:custGeom>
              <a:avLst/>
              <a:gdLst>
                <a:gd name="T0" fmla="*/ 101 w 109"/>
                <a:gd name="T1" fmla="*/ 47 h 156"/>
                <a:gd name="T2" fmla="*/ 109 w 109"/>
                <a:gd name="T3" fmla="*/ 156 h 156"/>
                <a:gd name="T4" fmla="*/ 91 w 109"/>
                <a:gd name="T5" fmla="*/ 133 h 156"/>
                <a:gd name="T6" fmla="*/ 0 w 109"/>
                <a:gd name="T7" fmla="*/ 0 h 156"/>
                <a:gd name="T8" fmla="*/ 73 w 109"/>
                <a:gd name="T9" fmla="*/ 7 h 156"/>
                <a:gd name="T10" fmla="*/ 73 w 109"/>
                <a:gd name="T11" fmla="*/ 7 h 156"/>
                <a:gd name="T12" fmla="*/ 101 w 109"/>
                <a:gd name="T13" fmla="*/ 4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56">
                  <a:moveTo>
                    <a:pt x="101" y="47"/>
                  </a:moveTo>
                  <a:cubicBezTo>
                    <a:pt x="109" y="156"/>
                    <a:pt x="109" y="156"/>
                    <a:pt x="109" y="156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24" y="57"/>
                    <a:pt x="0" y="0"/>
                    <a:pt x="0" y="0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82" y="24"/>
                    <a:pt x="92" y="40"/>
                    <a:pt x="101" y="47"/>
                  </a:cubicBez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6ED4F6F-E5C0-1558-BD89-DE32A1B2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988" y="2566988"/>
              <a:ext cx="1312863" cy="1730375"/>
            </a:xfrm>
            <a:custGeom>
              <a:avLst/>
              <a:gdLst>
                <a:gd name="T0" fmla="*/ 91 w 98"/>
                <a:gd name="T1" fmla="*/ 133 h 199"/>
                <a:gd name="T2" fmla="*/ 89 w 98"/>
                <a:gd name="T3" fmla="*/ 199 h 199"/>
                <a:gd name="T4" fmla="*/ 89 w 98"/>
                <a:gd name="T5" fmla="*/ 199 h 199"/>
                <a:gd name="T6" fmla="*/ 57 w 98"/>
                <a:gd name="T7" fmla="*/ 116 h 199"/>
                <a:gd name="T8" fmla="*/ 23 w 98"/>
                <a:gd name="T9" fmla="*/ 120 h 199"/>
                <a:gd name="T10" fmla="*/ 9 w 98"/>
                <a:gd name="T11" fmla="*/ 48 h 199"/>
                <a:gd name="T12" fmla="*/ 0 w 98"/>
                <a:gd name="T13" fmla="*/ 0 h 199"/>
                <a:gd name="T14" fmla="*/ 91 w 98"/>
                <a:gd name="T15" fmla="*/ 13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199">
                  <a:moveTo>
                    <a:pt x="91" y="133"/>
                  </a:moveTo>
                  <a:cubicBezTo>
                    <a:pt x="91" y="133"/>
                    <a:pt x="98" y="162"/>
                    <a:pt x="89" y="199"/>
                  </a:cubicBezTo>
                  <a:cubicBezTo>
                    <a:pt x="89" y="199"/>
                    <a:pt x="89" y="199"/>
                    <a:pt x="89" y="199"/>
                  </a:cubicBezTo>
                  <a:cubicBezTo>
                    <a:pt x="57" y="116"/>
                    <a:pt x="57" y="116"/>
                    <a:pt x="57" y="116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4" y="57"/>
                    <a:pt x="91" y="13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19109121-ED94-C7D2-3917-56D55B46A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663" y="3576638"/>
              <a:ext cx="1889125" cy="1563688"/>
            </a:xfrm>
            <a:custGeom>
              <a:avLst/>
              <a:gdLst>
                <a:gd name="T0" fmla="*/ 141 w 141"/>
                <a:gd name="T1" fmla="*/ 83 h 180"/>
                <a:gd name="T2" fmla="*/ 141 w 141"/>
                <a:gd name="T3" fmla="*/ 83 h 180"/>
                <a:gd name="T4" fmla="*/ 65 w 141"/>
                <a:gd name="T5" fmla="*/ 180 h 180"/>
                <a:gd name="T6" fmla="*/ 52 w 141"/>
                <a:gd name="T7" fmla="*/ 129 h 180"/>
                <a:gd name="T8" fmla="*/ 33 w 141"/>
                <a:gd name="T9" fmla="*/ 155 h 180"/>
                <a:gd name="T10" fmla="*/ 0 w 141"/>
                <a:gd name="T11" fmla="*/ 116 h 180"/>
                <a:gd name="T12" fmla="*/ 17 w 141"/>
                <a:gd name="T13" fmla="*/ 4 h 180"/>
                <a:gd name="T14" fmla="*/ 75 w 141"/>
                <a:gd name="T15" fmla="*/ 4 h 180"/>
                <a:gd name="T16" fmla="*/ 109 w 141"/>
                <a:gd name="T17" fmla="*/ 0 h 180"/>
                <a:gd name="T18" fmla="*/ 141 w 141"/>
                <a:gd name="T19" fmla="*/ 83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80">
                  <a:moveTo>
                    <a:pt x="141" y="83"/>
                  </a:moveTo>
                  <a:cubicBezTo>
                    <a:pt x="141" y="83"/>
                    <a:pt x="141" y="83"/>
                    <a:pt x="141" y="83"/>
                  </a:cubicBezTo>
                  <a:cubicBezTo>
                    <a:pt x="133" y="114"/>
                    <a:pt x="113" y="150"/>
                    <a:pt x="65" y="180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33" y="155"/>
                    <a:pt x="33" y="155"/>
                    <a:pt x="33" y="15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109" y="0"/>
                    <a:pt x="109" y="0"/>
                    <a:pt x="109" y="0"/>
                  </a:cubicBezTo>
                  <a:lnTo>
                    <a:pt x="141" y="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C0C442E1-2BEE-7295-5584-1904C6F09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7625" y="2151063"/>
              <a:ext cx="1339850" cy="477838"/>
            </a:xfrm>
            <a:custGeom>
              <a:avLst/>
              <a:gdLst>
                <a:gd name="T0" fmla="*/ 100 w 100"/>
                <a:gd name="T1" fmla="*/ 55 h 55"/>
                <a:gd name="T2" fmla="*/ 27 w 100"/>
                <a:gd name="T3" fmla="*/ 48 h 55"/>
                <a:gd name="T4" fmla="*/ 0 w 100"/>
                <a:gd name="T5" fmla="*/ 0 h 55"/>
                <a:gd name="T6" fmla="*/ 82 w 100"/>
                <a:gd name="T7" fmla="*/ 12 h 55"/>
                <a:gd name="T8" fmla="*/ 100 w 100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55">
                  <a:moveTo>
                    <a:pt x="100" y="55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7" y="25"/>
                    <a:pt x="93" y="40"/>
                    <a:pt x="100" y="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5A079BB6-D616-4008-EE36-7765BA428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7625" y="1968500"/>
              <a:ext cx="1098550" cy="285750"/>
            </a:xfrm>
            <a:custGeom>
              <a:avLst/>
              <a:gdLst>
                <a:gd name="T0" fmla="*/ 82 w 82"/>
                <a:gd name="T1" fmla="*/ 33 h 33"/>
                <a:gd name="T2" fmla="*/ 0 w 82"/>
                <a:gd name="T3" fmla="*/ 21 h 33"/>
                <a:gd name="T4" fmla="*/ 43 w 82"/>
                <a:gd name="T5" fmla="*/ 2 h 33"/>
                <a:gd name="T6" fmla="*/ 70 w 82"/>
                <a:gd name="T7" fmla="*/ 0 h 33"/>
                <a:gd name="T8" fmla="*/ 82 w 82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33">
                  <a:moveTo>
                    <a:pt x="82" y="33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4" y="14"/>
                    <a:pt x="82" y="33"/>
                  </a:cubicBezTo>
                  <a:close/>
                </a:path>
              </a:pathLst>
            </a:custGeom>
            <a:solidFill>
              <a:srgbClr val="93D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3EF7873D-916B-CC91-D079-8986A38F7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213" y="2871788"/>
              <a:ext cx="2827338" cy="1712913"/>
            </a:xfrm>
            <a:custGeom>
              <a:avLst/>
              <a:gdLst>
                <a:gd name="T0" fmla="*/ 197 w 211"/>
                <a:gd name="T1" fmla="*/ 13 h 197"/>
                <a:gd name="T2" fmla="*/ 211 w 211"/>
                <a:gd name="T3" fmla="*/ 85 h 197"/>
                <a:gd name="T4" fmla="*/ 153 w 211"/>
                <a:gd name="T5" fmla="*/ 85 h 197"/>
                <a:gd name="T6" fmla="*/ 136 w 211"/>
                <a:gd name="T7" fmla="*/ 197 h 197"/>
                <a:gd name="T8" fmla="*/ 29 w 211"/>
                <a:gd name="T9" fmla="*/ 176 h 197"/>
                <a:gd name="T10" fmla="*/ 0 w 211"/>
                <a:gd name="T11" fmla="*/ 137 h 197"/>
                <a:gd name="T12" fmla="*/ 0 w 211"/>
                <a:gd name="T13" fmla="*/ 0 h 197"/>
                <a:gd name="T14" fmla="*/ 60 w 211"/>
                <a:gd name="T15" fmla="*/ 13 h 197"/>
                <a:gd name="T16" fmla="*/ 91 w 211"/>
                <a:gd name="T17" fmla="*/ 149 h 197"/>
                <a:gd name="T18" fmla="*/ 136 w 211"/>
                <a:gd name="T19" fmla="*/ 13 h 197"/>
                <a:gd name="T20" fmla="*/ 197 w 211"/>
                <a:gd name="T21" fmla="*/ 13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197">
                  <a:moveTo>
                    <a:pt x="197" y="13"/>
                  </a:moveTo>
                  <a:cubicBezTo>
                    <a:pt x="211" y="85"/>
                    <a:pt x="211" y="85"/>
                    <a:pt x="211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36" y="197"/>
                    <a:pt x="136" y="197"/>
                    <a:pt x="136" y="197"/>
                  </a:cubicBezTo>
                  <a:cubicBezTo>
                    <a:pt x="136" y="197"/>
                    <a:pt x="45" y="172"/>
                    <a:pt x="29" y="176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136" y="13"/>
                    <a:pt x="136" y="13"/>
                    <a:pt x="136" y="13"/>
                  </a:cubicBezTo>
                  <a:lnTo>
                    <a:pt x="197" y="1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19245FFC-787A-5F27-CC65-8655A787B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7625" y="1143000"/>
              <a:ext cx="576263" cy="1008063"/>
            </a:xfrm>
            <a:custGeom>
              <a:avLst/>
              <a:gdLst>
                <a:gd name="T0" fmla="*/ 0 w 363"/>
                <a:gd name="T1" fmla="*/ 0 h 635"/>
                <a:gd name="T2" fmla="*/ 363 w 363"/>
                <a:gd name="T3" fmla="*/ 531 h 635"/>
                <a:gd name="T4" fmla="*/ 0 w 363"/>
                <a:gd name="T5" fmla="*/ 635 h 635"/>
                <a:gd name="T6" fmla="*/ 0 w 363"/>
                <a:gd name="T7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3" h="635">
                  <a:moveTo>
                    <a:pt x="0" y="0"/>
                  </a:moveTo>
                  <a:lnTo>
                    <a:pt x="363" y="531"/>
                  </a:lnTo>
                  <a:lnTo>
                    <a:pt x="0" y="6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7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F9EA5C94-9542-0F75-E70C-71F3AEC58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4697413"/>
              <a:ext cx="1271588" cy="842963"/>
            </a:xfrm>
            <a:custGeom>
              <a:avLst/>
              <a:gdLst>
                <a:gd name="T0" fmla="*/ 691 w 801"/>
                <a:gd name="T1" fmla="*/ 0 h 531"/>
                <a:gd name="T2" fmla="*/ 801 w 801"/>
                <a:gd name="T3" fmla="*/ 279 h 531"/>
                <a:gd name="T4" fmla="*/ 767 w 801"/>
                <a:gd name="T5" fmla="*/ 531 h 531"/>
                <a:gd name="T6" fmla="*/ 0 w 801"/>
                <a:gd name="T7" fmla="*/ 33 h 531"/>
                <a:gd name="T8" fmla="*/ 531 w 801"/>
                <a:gd name="T9" fmla="*/ 142 h 531"/>
                <a:gd name="T10" fmla="*/ 691 w 801"/>
                <a:gd name="T11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1" h="531">
                  <a:moveTo>
                    <a:pt x="691" y="0"/>
                  </a:moveTo>
                  <a:lnTo>
                    <a:pt x="801" y="279"/>
                  </a:lnTo>
                  <a:lnTo>
                    <a:pt x="767" y="531"/>
                  </a:lnTo>
                  <a:lnTo>
                    <a:pt x="0" y="33"/>
                  </a:lnTo>
                  <a:lnTo>
                    <a:pt x="531" y="142"/>
                  </a:lnTo>
                  <a:lnTo>
                    <a:pt x="69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690D5BAE-7683-376C-4FCF-D1F46B358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663" y="2566988"/>
              <a:ext cx="815975" cy="417513"/>
            </a:xfrm>
            <a:custGeom>
              <a:avLst/>
              <a:gdLst>
                <a:gd name="T0" fmla="*/ 438 w 514"/>
                <a:gd name="T1" fmla="*/ 0 h 263"/>
                <a:gd name="T2" fmla="*/ 514 w 514"/>
                <a:gd name="T3" fmla="*/ 263 h 263"/>
                <a:gd name="T4" fmla="*/ 0 w 514"/>
                <a:gd name="T5" fmla="*/ 263 h 263"/>
                <a:gd name="T6" fmla="*/ 438 w 514"/>
                <a:gd name="T7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4" h="263">
                  <a:moveTo>
                    <a:pt x="438" y="0"/>
                  </a:moveTo>
                  <a:lnTo>
                    <a:pt x="514" y="263"/>
                  </a:lnTo>
                  <a:lnTo>
                    <a:pt x="0" y="263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9650BFD3-82D8-932C-4090-5EC300FEA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213" y="4062413"/>
              <a:ext cx="2638425" cy="2338388"/>
            </a:xfrm>
            <a:custGeom>
              <a:avLst/>
              <a:gdLst>
                <a:gd name="T0" fmla="*/ 197 w 197"/>
                <a:gd name="T1" fmla="*/ 170 h 269"/>
                <a:gd name="T2" fmla="*/ 194 w 197"/>
                <a:gd name="T3" fmla="*/ 196 h 269"/>
                <a:gd name="T4" fmla="*/ 136 w 197"/>
                <a:gd name="T5" fmla="*/ 156 h 269"/>
                <a:gd name="T6" fmla="*/ 136 w 197"/>
                <a:gd name="T7" fmla="*/ 220 h 269"/>
                <a:gd name="T8" fmla="*/ 106 w 197"/>
                <a:gd name="T9" fmla="*/ 122 h 269"/>
                <a:gd name="T10" fmla="*/ 107 w 197"/>
                <a:gd name="T11" fmla="*/ 269 h 269"/>
                <a:gd name="T12" fmla="*/ 65 w 197"/>
                <a:gd name="T13" fmla="*/ 170 h 269"/>
                <a:gd name="T14" fmla="*/ 91 w 197"/>
                <a:gd name="T15" fmla="*/ 84 h 269"/>
                <a:gd name="T16" fmla="*/ 43 w 197"/>
                <a:gd name="T17" fmla="*/ 79 h 269"/>
                <a:gd name="T18" fmla="*/ 18 w 197"/>
                <a:gd name="T19" fmla="*/ 53 h 269"/>
                <a:gd name="T20" fmla="*/ 0 w 197"/>
                <a:gd name="T21" fmla="*/ 0 h 269"/>
                <a:gd name="T22" fmla="*/ 29 w 197"/>
                <a:gd name="T23" fmla="*/ 39 h 269"/>
                <a:gd name="T24" fmla="*/ 136 w 197"/>
                <a:gd name="T25" fmla="*/ 60 h 269"/>
                <a:gd name="T26" fmla="*/ 169 w 197"/>
                <a:gd name="T27" fmla="*/ 99 h 269"/>
                <a:gd name="T28" fmla="*/ 106 w 197"/>
                <a:gd name="T29" fmla="*/ 79 h 269"/>
                <a:gd name="T30" fmla="*/ 197 w 197"/>
                <a:gd name="T31" fmla="*/ 17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269">
                  <a:moveTo>
                    <a:pt x="197" y="170"/>
                  </a:moveTo>
                  <a:cubicBezTo>
                    <a:pt x="194" y="196"/>
                    <a:pt x="194" y="196"/>
                    <a:pt x="194" y="196"/>
                  </a:cubicBezTo>
                  <a:cubicBezTo>
                    <a:pt x="136" y="156"/>
                    <a:pt x="136" y="156"/>
                    <a:pt x="136" y="156"/>
                  </a:cubicBezTo>
                  <a:cubicBezTo>
                    <a:pt x="136" y="220"/>
                    <a:pt x="136" y="220"/>
                    <a:pt x="136" y="220"/>
                  </a:cubicBezTo>
                  <a:cubicBezTo>
                    <a:pt x="106" y="122"/>
                    <a:pt x="106" y="122"/>
                    <a:pt x="106" y="122"/>
                  </a:cubicBezTo>
                  <a:cubicBezTo>
                    <a:pt x="107" y="269"/>
                    <a:pt x="107" y="269"/>
                    <a:pt x="107" y="269"/>
                  </a:cubicBezTo>
                  <a:cubicBezTo>
                    <a:pt x="98" y="247"/>
                    <a:pt x="82" y="210"/>
                    <a:pt x="65" y="170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7" y="26"/>
                    <a:pt x="0" y="6"/>
                    <a:pt x="0" y="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45" y="35"/>
                    <a:pt x="136" y="60"/>
                    <a:pt x="136" y="60"/>
                  </a:cubicBezTo>
                  <a:cubicBezTo>
                    <a:pt x="169" y="99"/>
                    <a:pt x="169" y="99"/>
                    <a:pt x="169" y="99"/>
                  </a:cubicBezTo>
                  <a:cubicBezTo>
                    <a:pt x="106" y="79"/>
                    <a:pt x="106" y="79"/>
                    <a:pt x="106" y="79"/>
                  </a:cubicBezTo>
                  <a:lnTo>
                    <a:pt x="197" y="170"/>
                  </a:lnTo>
                  <a:close/>
                </a:path>
              </a:pathLst>
            </a:custGeom>
            <a:solidFill>
              <a:srgbClr val="0060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8C157A13-B8BB-D048-6C33-5D2C67C59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5122863"/>
              <a:ext cx="1177925" cy="1452563"/>
            </a:xfrm>
            <a:custGeom>
              <a:avLst/>
              <a:gdLst>
                <a:gd name="T0" fmla="*/ 88 w 88"/>
                <a:gd name="T1" fmla="*/ 74 h 167"/>
                <a:gd name="T2" fmla="*/ 30 w 88"/>
                <a:gd name="T3" fmla="*/ 133 h 167"/>
                <a:gd name="T4" fmla="*/ 22 w 88"/>
                <a:gd name="T5" fmla="*/ 110 h 167"/>
                <a:gd name="T6" fmla="*/ 10 w 88"/>
                <a:gd name="T7" fmla="*/ 167 h 167"/>
                <a:gd name="T8" fmla="*/ 1 w 88"/>
                <a:gd name="T9" fmla="*/ 147 h 167"/>
                <a:gd name="T10" fmla="*/ 0 w 88"/>
                <a:gd name="T11" fmla="*/ 0 h 167"/>
                <a:gd name="T12" fmla="*/ 30 w 88"/>
                <a:gd name="T13" fmla="*/ 98 h 167"/>
                <a:gd name="T14" fmla="*/ 30 w 88"/>
                <a:gd name="T15" fmla="*/ 34 h 167"/>
                <a:gd name="T16" fmla="*/ 88 w 88"/>
                <a:gd name="T17" fmla="*/ 7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67">
                  <a:moveTo>
                    <a:pt x="88" y="74"/>
                  </a:moveTo>
                  <a:cubicBezTo>
                    <a:pt x="30" y="133"/>
                    <a:pt x="30" y="133"/>
                    <a:pt x="30" y="133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10" y="167"/>
                    <a:pt x="10" y="167"/>
                    <a:pt x="10" y="167"/>
                  </a:cubicBezTo>
                  <a:cubicBezTo>
                    <a:pt x="10" y="167"/>
                    <a:pt x="7" y="160"/>
                    <a:pt x="1" y="1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34"/>
                    <a:pt x="30" y="34"/>
                    <a:pt x="30" y="34"/>
                  </a:cubicBezTo>
                  <a:lnTo>
                    <a:pt x="88" y="7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8694A41-57D0-F499-695E-0C5491364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413" y="2151063"/>
              <a:ext cx="1298575" cy="833438"/>
            </a:xfrm>
            <a:custGeom>
              <a:avLst/>
              <a:gdLst>
                <a:gd name="T0" fmla="*/ 591 w 818"/>
                <a:gd name="T1" fmla="*/ 0 h 525"/>
                <a:gd name="T2" fmla="*/ 818 w 818"/>
                <a:gd name="T3" fmla="*/ 262 h 525"/>
                <a:gd name="T4" fmla="*/ 380 w 818"/>
                <a:gd name="T5" fmla="*/ 525 h 525"/>
                <a:gd name="T6" fmla="*/ 0 w 818"/>
                <a:gd name="T7" fmla="*/ 126 h 525"/>
                <a:gd name="T8" fmla="*/ 591 w 818"/>
                <a:gd name="T9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8" h="525">
                  <a:moveTo>
                    <a:pt x="591" y="0"/>
                  </a:moveTo>
                  <a:lnTo>
                    <a:pt x="818" y="262"/>
                  </a:lnTo>
                  <a:lnTo>
                    <a:pt x="380" y="525"/>
                  </a:lnTo>
                  <a:lnTo>
                    <a:pt x="0" y="126"/>
                  </a:lnTo>
                  <a:lnTo>
                    <a:pt x="591" y="0"/>
                  </a:ln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1793B999-D59A-1784-BD14-DA0E561D5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088" y="1143000"/>
              <a:ext cx="617538" cy="1008063"/>
            </a:xfrm>
            <a:custGeom>
              <a:avLst/>
              <a:gdLst>
                <a:gd name="T0" fmla="*/ 389 w 389"/>
                <a:gd name="T1" fmla="*/ 0 h 635"/>
                <a:gd name="T2" fmla="*/ 389 w 389"/>
                <a:gd name="T3" fmla="*/ 635 h 635"/>
                <a:gd name="T4" fmla="*/ 0 w 389"/>
                <a:gd name="T5" fmla="*/ 498 h 635"/>
                <a:gd name="T6" fmla="*/ 389 w 389"/>
                <a:gd name="T7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9" h="635">
                  <a:moveTo>
                    <a:pt x="389" y="0"/>
                  </a:moveTo>
                  <a:lnTo>
                    <a:pt x="389" y="635"/>
                  </a:lnTo>
                  <a:lnTo>
                    <a:pt x="0" y="498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1EA4E692-1537-F73B-DC39-5B87F4B53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413" y="1933575"/>
              <a:ext cx="938213" cy="417513"/>
            </a:xfrm>
            <a:custGeom>
              <a:avLst/>
              <a:gdLst>
                <a:gd name="T0" fmla="*/ 591 w 591"/>
                <a:gd name="T1" fmla="*/ 137 h 263"/>
                <a:gd name="T2" fmla="*/ 0 w 591"/>
                <a:gd name="T3" fmla="*/ 263 h 263"/>
                <a:gd name="T4" fmla="*/ 0 w 591"/>
                <a:gd name="T5" fmla="*/ 0 h 263"/>
                <a:gd name="T6" fmla="*/ 202 w 591"/>
                <a:gd name="T7" fmla="*/ 0 h 263"/>
                <a:gd name="T8" fmla="*/ 591 w 591"/>
                <a:gd name="T9" fmla="*/ 13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263">
                  <a:moveTo>
                    <a:pt x="591" y="137"/>
                  </a:moveTo>
                  <a:lnTo>
                    <a:pt x="0" y="263"/>
                  </a:lnTo>
                  <a:lnTo>
                    <a:pt x="0" y="0"/>
                  </a:lnTo>
                  <a:lnTo>
                    <a:pt x="202" y="0"/>
                  </a:lnTo>
                  <a:lnTo>
                    <a:pt x="591" y="13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C30B38E6-EE92-C6ED-4041-2E4CD5E1D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475" y="2324100"/>
              <a:ext cx="1246188" cy="660400"/>
            </a:xfrm>
            <a:custGeom>
              <a:avLst/>
              <a:gdLst>
                <a:gd name="T0" fmla="*/ 405 w 785"/>
                <a:gd name="T1" fmla="*/ 17 h 416"/>
                <a:gd name="T2" fmla="*/ 785 w 785"/>
                <a:gd name="T3" fmla="*/ 416 h 416"/>
                <a:gd name="T4" fmla="*/ 143 w 785"/>
                <a:gd name="T5" fmla="*/ 416 h 416"/>
                <a:gd name="T6" fmla="*/ 0 w 785"/>
                <a:gd name="T7" fmla="*/ 0 h 416"/>
                <a:gd name="T8" fmla="*/ 405 w 785"/>
                <a:gd name="T9" fmla="*/ 1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5" h="416">
                  <a:moveTo>
                    <a:pt x="405" y="17"/>
                  </a:moveTo>
                  <a:lnTo>
                    <a:pt x="785" y="416"/>
                  </a:lnTo>
                  <a:lnTo>
                    <a:pt x="143" y="416"/>
                  </a:lnTo>
                  <a:lnTo>
                    <a:pt x="0" y="0"/>
                  </a:lnTo>
                  <a:lnTo>
                    <a:pt x="405" y="17"/>
                  </a:lnTo>
                  <a:close/>
                </a:path>
              </a:pathLst>
            </a:custGeom>
            <a:solidFill>
              <a:srgbClr val="B7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0BFF6B7B-E636-9966-E7E5-CF86D60C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3488" y="2984500"/>
              <a:ext cx="1019175" cy="1182688"/>
            </a:xfrm>
            <a:custGeom>
              <a:avLst/>
              <a:gdLst>
                <a:gd name="T0" fmla="*/ 642 w 642"/>
                <a:gd name="T1" fmla="*/ 0 h 745"/>
                <a:gd name="T2" fmla="*/ 262 w 642"/>
                <a:gd name="T3" fmla="*/ 745 h 745"/>
                <a:gd name="T4" fmla="*/ 0 w 642"/>
                <a:gd name="T5" fmla="*/ 0 h 745"/>
                <a:gd name="T6" fmla="*/ 642 w 642"/>
                <a:gd name="T7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2" h="745">
                  <a:moveTo>
                    <a:pt x="642" y="0"/>
                  </a:moveTo>
                  <a:lnTo>
                    <a:pt x="262" y="745"/>
                  </a:lnTo>
                  <a:lnTo>
                    <a:pt x="0" y="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D2A3C7F1-CF4F-FE38-E6D4-414CA007A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513" y="4522788"/>
              <a:ext cx="977900" cy="1017588"/>
            </a:xfrm>
            <a:custGeom>
              <a:avLst/>
              <a:gdLst>
                <a:gd name="T0" fmla="*/ 73 w 73"/>
                <a:gd name="T1" fmla="*/ 31 h 117"/>
                <a:gd name="T2" fmla="*/ 47 w 73"/>
                <a:gd name="T3" fmla="*/ 117 h 117"/>
                <a:gd name="T4" fmla="*/ 0 w 73"/>
                <a:gd name="T5" fmla="*/ 0 h 117"/>
                <a:gd name="T6" fmla="*/ 25 w 73"/>
                <a:gd name="T7" fmla="*/ 26 h 117"/>
                <a:gd name="T8" fmla="*/ 73 w 73"/>
                <a:gd name="T9" fmla="*/ 3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17">
                  <a:moveTo>
                    <a:pt x="73" y="31"/>
                  </a:moveTo>
                  <a:cubicBezTo>
                    <a:pt x="47" y="117"/>
                    <a:pt x="47" y="117"/>
                    <a:pt x="47" y="117"/>
                  </a:cubicBezTo>
                  <a:cubicBezTo>
                    <a:pt x="30" y="76"/>
                    <a:pt x="13" y="33"/>
                    <a:pt x="0" y="0"/>
                  </a:cubicBezTo>
                  <a:cubicBezTo>
                    <a:pt x="25" y="26"/>
                    <a:pt x="25" y="26"/>
                    <a:pt x="25" y="26"/>
                  </a:cubicBezTo>
                  <a:lnTo>
                    <a:pt x="73" y="3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656E4626-BBF2-0725-D5DA-BF3C8CCC5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0213" y="2324100"/>
              <a:ext cx="803275" cy="660400"/>
            </a:xfrm>
            <a:custGeom>
              <a:avLst/>
              <a:gdLst>
                <a:gd name="T0" fmla="*/ 363 w 506"/>
                <a:gd name="T1" fmla="*/ 0 h 416"/>
                <a:gd name="T2" fmla="*/ 506 w 506"/>
                <a:gd name="T3" fmla="*/ 416 h 416"/>
                <a:gd name="T4" fmla="*/ 0 w 506"/>
                <a:gd name="T5" fmla="*/ 345 h 416"/>
                <a:gd name="T6" fmla="*/ 363 w 506"/>
                <a:gd name="T7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6" h="416">
                  <a:moveTo>
                    <a:pt x="363" y="0"/>
                  </a:moveTo>
                  <a:lnTo>
                    <a:pt x="506" y="416"/>
                  </a:lnTo>
                  <a:lnTo>
                    <a:pt x="0" y="345"/>
                  </a:lnTo>
                  <a:lnTo>
                    <a:pt x="363" y="0"/>
                  </a:lnTo>
                  <a:close/>
                </a:path>
              </a:pathLst>
            </a:custGeom>
            <a:solidFill>
              <a:srgbClr val="19A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C793691-0BBA-D7FF-D83C-FC559BE3E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250" y="2871788"/>
              <a:ext cx="334963" cy="1190625"/>
            </a:xfrm>
            <a:custGeom>
              <a:avLst/>
              <a:gdLst>
                <a:gd name="T0" fmla="*/ 211 w 211"/>
                <a:gd name="T1" fmla="*/ 0 h 750"/>
                <a:gd name="T2" fmla="*/ 211 w 211"/>
                <a:gd name="T3" fmla="*/ 750 h 750"/>
                <a:gd name="T4" fmla="*/ 0 w 211"/>
                <a:gd name="T5" fmla="*/ 728 h 750"/>
                <a:gd name="T6" fmla="*/ 0 w 211"/>
                <a:gd name="T7" fmla="*/ 203 h 750"/>
                <a:gd name="T8" fmla="*/ 211 w 211"/>
                <a:gd name="T9" fmla="*/ 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750">
                  <a:moveTo>
                    <a:pt x="211" y="0"/>
                  </a:moveTo>
                  <a:lnTo>
                    <a:pt x="211" y="750"/>
                  </a:lnTo>
                  <a:lnTo>
                    <a:pt x="0" y="728"/>
                  </a:lnTo>
                  <a:lnTo>
                    <a:pt x="0" y="203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3599"/>
            </a:p>
          </p:txBody>
        </p:sp>
      </p:grpSp>
      <p:sp>
        <p:nvSpPr>
          <p:cNvPr id="26" name="Rechteck 11">
            <a:extLst>
              <a:ext uri="{FF2B5EF4-FFF2-40B4-BE49-F238E27FC236}">
                <a16:creationId xmlns:a16="http://schemas.microsoft.com/office/drawing/2014/main" id="{10794D3E-7FBE-F2A7-1BF4-5E63DBD4EC62}"/>
              </a:ext>
            </a:extLst>
          </p:cNvPr>
          <p:cNvSpPr>
            <a:spLocks/>
          </p:cNvSpPr>
          <p:nvPr/>
        </p:nvSpPr>
        <p:spPr>
          <a:xfrm>
            <a:off x="0" y="3028951"/>
            <a:ext cx="12192000" cy="3504196"/>
          </a:xfrm>
          <a:prstGeom prst="rect">
            <a:avLst/>
          </a:prstGeom>
          <a:gradFill>
            <a:gsLst>
              <a:gs pos="0">
                <a:schemeClr val="accent3">
                  <a:alpha val="65000"/>
                </a:schemeClr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918E11-C25C-6807-03D2-B8098986D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Iceberg</a:t>
            </a:r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173A800-A07A-508D-D639-4A8EC1D846F8}"/>
              </a:ext>
            </a:extLst>
          </p:cNvPr>
          <p:cNvSpPr txBox="1">
            <a:spLocks/>
          </p:cNvSpPr>
          <p:nvPr/>
        </p:nvSpPr>
        <p:spPr>
          <a:xfrm>
            <a:off x="419140" y="1821871"/>
            <a:ext cx="3025810" cy="8156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2000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42D691D-A6B7-D72B-CD76-63270325AE90}"/>
              </a:ext>
            </a:extLst>
          </p:cNvPr>
          <p:cNvSpPr txBox="1">
            <a:spLocks/>
          </p:cNvSpPr>
          <p:nvPr/>
        </p:nvSpPr>
        <p:spPr>
          <a:xfrm>
            <a:off x="419139" y="3349360"/>
            <a:ext cx="3784871" cy="8156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bg1"/>
                </a:solidFill>
                <a:sym typeface="Futura"/>
              </a:rPr>
              <a:t>Lorem ipsum</a:t>
            </a:r>
          </a:p>
          <a:p>
            <a:pPr defTabSz="1087636">
              <a:defRPr/>
            </a:pPr>
            <a: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b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US" sz="140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7BB4B108-C019-2147-11E9-445E59983FB4}"/>
              </a:ext>
            </a:extLst>
          </p:cNvPr>
          <p:cNvGrpSpPr>
            <a:grpSpLocks/>
          </p:cNvGrpSpPr>
          <p:nvPr/>
        </p:nvGrpSpPr>
        <p:grpSpPr>
          <a:xfrm>
            <a:off x="8488042" y="2117558"/>
            <a:ext cx="1418124" cy="995339"/>
            <a:chOff x="9557038" y="2117558"/>
            <a:chExt cx="1418124" cy="995339"/>
          </a:xfrm>
        </p:grpSpPr>
        <p:sp>
          <p:nvSpPr>
            <p:cNvPr id="27" name="Freeform 56">
              <a:extLst>
                <a:ext uri="{FF2B5EF4-FFF2-40B4-BE49-F238E27FC236}">
                  <a16:creationId xmlns:a16="http://schemas.microsoft.com/office/drawing/2014/main" id="{7880F709-3E85-C834-AD5D-70716BDD67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57038" y="2117558"/>
              <a:ext cx="1418124" cy="995339"/>
            </a:xfrm>
            <a:custGeom>
              <a:avLst/>
              <a:gdLst>
                <a:gd name="connsiteX0" fmla="*/ 1428316 w 3798527"/>
                <a:gd name="connsiteY0" fmla="*/ 2077472 h 2666074"/>
                <a:gd name="connsiteX1" fmla="*/ 1306512 w 3798527"/>
                <a:gd name="connsiteY1" fmla="*/ 2199529 h 2666074"/>
                <a:gd name="connsiteX2" fmla="*/ 1428316 w 3798527"/>
                <a:gd name="connsiteY2" fmla="*/ 2321586 h 2666074"/>
                <a:gd name="connsiteX3" fmla="*/ 1549041 w 3798527"/>
                <a:gd name="connsiteY3" fmla="*/ 2199529 h 2666074"/>
                <a:gd name="connsiteX4" fmla="*/ 1428316 w 3798527"/>
                <a:gd name="connsiteY4" fmla="*/ 2077472 h 2666074"/>
                <a:gd name="connsiteX5" fmla="*/ 943409 w 3798527"/>
                <a:gd name="connsiteY5" fmla="*/ 2077472 h 2666074"/>
                <a:gd name="connsiteX6" fmla="*/ 822325 w 3798527"/>
                <a:gd name="connsiteY6" fmla="*/ 2199529 h 2666074"/>
                <a:gd name="connsiteX7" fmla="*/ 943409 w 3798527"/>
                <a:gd name="connsiteY7" fmla="*/ 2321586 h 2666074"/>
                <a:gd name="connsiteX8" fmla="*/ 1064852 w 3798527"/>
                <a:gd name="connsiteY8" fmla="*/ 2199529 h 2666074"/>
                <a:gd name="connsiteX9" fmla="*/ 943409 w 3798527"/>
                <a:gd name="connsiteY9" fmla="*/ 2077472 h 2666074"/>
                <a:gd name="connsiteX10" fmla="*/ 460194 w 3798527"/>
                <a:gd name="connsiteY10" fmla="*/ 2077472 h 2666074"/>
                <a:gd name="connsiteX11" fmla="*/ 338137 w 3798527"/>
                <a:gd name="connsiteY11" fmla="*/ 2199529 h 2666074"/>
                <a:gd name="connsiteX12" fmla="*/ 460194 w 3798527"/>
                <a:gd name="connsiteY12" fmla="*/ 2321586 h 2666074"/>
                <a:gd name="connsiteX13" fmla="*/ 582251 w 3798527"/>
                <a:gd name="connsiteY13" fmla="*/ 2199529 h 2666074"/>
                <a:gd name="connsiteX14" fmla="*/ 460194 w 3798527"/>
                <a:gd name="connsiteY14" fmla="*/ 2077472 h 2666074"/>
                <a:gd name="connsiteX15" fmla="*/ 3291861 w 3798527"/>
                <a:gd name="connsiteY15" fmla="*/ 1857649 h 2666074"/>
                <a:gd name="connsiteX16" fmla="*/ 3343669 w 3798527"/>
                <a:gd name="connsiteY16" fmla="*/ 1866278 h 2666074"/>
                <a:gd name="connsiteX17" fmla="*/ 3345828 w 3798527"/>
                <a:gd name="connsiteY17" fmla="*/ 1867357 h 2666074"/>
                <a:gd name="connsiteX18" fmla="*/ 3411667 w 3798527"/>
                <a:gd name="connsiteY18" fmla="*/ 1913377 h 2666074"/>
                <a:gd name="connsiteX19" fmla="*/ 3413106 w 3798527"/>
                <a:gd name="connsiteY19" fmla="*/ 1915534 h 2666074"/>
                <a:gd name="connsiteX20" fmla="*/ 3448724 w 3798527"/>
                <a:gd name="connsiteY20" fmla="*/ 2014406 h 2666074"/>
                <a:gd name="connsiteX21" fmla="*/ 3448724 w 3798527"/>
                <a:gd name="connsiteY21" fmla="*/ 2018721 h 2666074"/>
                <a:gd name="connsiteX22" fmla="*/ 3448724 w 3798527"/>
                <a:gd name="connsiteY22" fmla="*/ 2020159 h 2666074"/>
                <a:gd name="connsiteX23" fmla="*/ 3417423 w 3798527"/>
                <a:gd name="connsiteY23" fmla="*/ 2108245 h 2666074"/>
                <a:gd name="connsiteX24" fmla="*/ 3416344 w 3798527"/>
                <a:gd name="connsiteY24" fmla="*/ 2108964 h 2666074"/>
                <a:gd name="connsiteX25" fmla="*/ 3415803 w 3798527"/>
                <a:gd name="connsiteY25" fmla="*/ 2109465 h 2666074"/>
                <a:gd name="connsiteX26" fmla="*/ 3495675 w 3798527"/>
                <a:gd name="connsiteY26" fmla="*/ 2186341 h 2666074"/>
                <a:gd name="connsiteX27" fmla="*/ 3387163 w 3798527"/>
                <a:gd name="connsiteY27" fmla="*/ 2263819 h 2666074"/>
                <a:gd name="connsiteX28" fmla="*/ 3373509 w 3798527"/>
                <a:gd name="connsiteY28" fmla="*/ 2268841 h 2666074"/>
                <a:gd name="connsiteX29" fmla="*/ 3370994 w 3798527"/>
                <a:gd name="connsiteY29" fmla="*/ 2269200 h 2666074"/>
                <a:gd name="connsiteX30" fmla="*/ 3321409 w 3798527"/>
                <a:gd name="connsiteY30" fmla="*/ 2168406 h 2666074"/>
                <a:gd name="connsiteX31" fmla="*/ 3321539 w 3798527"/>
                <a:gd name="connsiteY31" fmla="*/ 2168355 h 2666074"/>
                <a:gd name="connsiteX32" fmla="*/ 3319204 w 3798527"/>
                <a:gd name="connsiteY32" fmla="*/ 2168646 h 2666074"/>
                <a:gd name="connsiteX33" fmla="*/ 3291861 w 3798527"/>
                <a:gd name="connsiteY33" fmla="*/ 2171163 h 2666074"/>
                <a:gd name="connsiteX34" fmla="*/ 3228900 w 3798527"/>
                <a:gd name="connsiteY34" fmla="*/ 2158220 h 2666074"/>
                <a:gd name="connsiteX35" fmla="*/ 3228540 w 3798527"/>
                <a:gd name="connsiteY35" fmla="*/ 2157860 h 2666074"/>
                <a:gd name="connsiteX36" fmla="*/ 3150829 w 3798527"/>
                <a:gd name="connsiteY36" fmla="*/ 2082718 h 2666074"/>
                <a:gd name="connsiteX37" fmla="*/ 3148670 w 3798527"/>
                <a:gd name="connsiteY37" fmla="*/ 2079482 h 2666074"/>
                <a:gd name="connsiteX38" fmla="*/ 3134998 w 3798527"/>
                <a:gd name="connsiteY38" fmla="*/ 2014406 h 2666074"/>
                <a:gd name="connsiteX39" fmla="*/ 3135358 w 3798527"/>
                <a:gd name="connsiteY39" fmla="*/ 2003980 h 2666074"/>
                <a:gd name="connsiteX40" fmla="*/ 3135358 w 3798527"/>
                <a:gd name="connsiteY40" fmla="*/ 2002901 h 2666074"/>
                <a:gd name="connsiteX41" fmla="*/ 3176373 w 3798527"/>
                <a:gd name="connsiteY41" fmla="*/ 1907984 h 2666074"/>
                <a:gd name="connsiteX42" fmla="*/ 3178531 w 3798527"/>
                <a:gd name="connsiteY42" fmla="*/ 1905827 h 2666074"/>
                <a:gd name="connsiteX43" fmla="*/ 3237535 w 3798527"/>
                <a:gd name="connsiteY43" fmla="*/ 1867357 h 2666074"/>
                <a:gd name="connsiteX44" fmla="*/ 3239694 w 3798527"/>
                <a:gd name="connsiteY44" fmla="*/ 1866278 h 2666074"/>
                <a:gd name="connsiteX45" fmla="*/ 3291861 w 3798527"/>
                <a:gd name="connsiteY45" fmla="*/ 1857649 h 2666074"/>
                <a:gd name="connsiteX46" fmla="*/ 2629874 w 3798527"/>
                <a:gd name="connsiteY46" fmla="*/ 1857649 h 2666074"/>
                <a:gd name="connsiteX47" fmla="*/ 2681681 w 3798527"/>
                <a:gd name="connsiteY47" fmla="*/ 1866278 h 2666074"/>
                <a:gd name="connsiteX48" fmla="*/ 2683840 w 3798527"/>
                <a:gd name="connsiteY48" fmla="*/ 1867357 h 2666074"/>
                <a:gd name="connsiteX49" fmla="*/ 2749679 w 3798527"/>
                <a:gd name="connsiteY49" fmla="*/ 1913377 h 2666074"/>
                <a:gd name="connsiteX50" fmla="*/ 2751010 w 3798527"/>
                <a:gd name="connsiteY50" fmla="*/ 1915372 h 2666074"/>
                <a:gd name="connsiteX51" fmla="*/ 2849705 w 3798527"/>
                <a:gd name="connsiteY51" fmla="*/ 1863158 h 2666074"/>
                <a:gd name="connsiteX52" fmla="*/ 2850784 w 3798527"/>
                <a:gd name="connsiteY52" fmla="*/ 1864950 h 2666074"/>
                <a:gd name="connsiteX53" fmla="*/ 2869850 w 3798527"/>
                <a:gd name="connsiteY53" fmla="*/ 1896854 h 2666074"/>
                <a:gd name="connsiteX54" fmla="*/ 2892872 w 3798527"/>
                <a:gd name="connsiteY54" fmla="*/ 1968189 h 2666074"/>
                <a:gd name="connsiteX55" fmla="*/ 2896470 w 3798527"/>
                <a:gd name="connsiteY55" fmla="*/ 2000809 h 2666074"/>
                <a:gd name="connsiteX56" fmla="*/ 2896470 w 3798527"/>
                <a:gd name="connsiteY56" fmla="*/ 2002243 h 2666074"/>
                <a:gd name="connsiteX57" fmla="*/ 2786736 w 3798527"/>
                <a:gd name="connsiteY57" fmla="*/ 2018324 h 2666074"/>
                <a:gd name="connsiteX58" fmla="*/ 2786736 w 3798527"/>
                <a:gd name="connsiteY58" fmla="*/ 2018721 h 2666074"/>
                <a:gd name="connsiteX59" fmla="*/ 2786736 w 3798527"/>
                <a:gd name="connsiteY59" fmla="*/ 2020159 h 2666074"/>
                <a:gd name="connsiteX60" fmla="*/ 2755435 w 3798527"/>
                <a:gd name="connsiteY60" fmla="*/ 2108245 h 2666074"/>
                <a:gd name="connsiteX61" fmla="*/ 2754356 w 3798527"/>
                <a:gd name="connsiteY61" fmla="*/ 2108964 h 2666074"/>
                <a:gd name="connsiteX62" fmla="*/ 2753533 w 3798527"/>
                <a:gd name="connsiteY62" fmla="*/ 2109726 h 2666074"/>
                <a:gd name="connsiteX63" fmla="*/ 2832971 w 3798527"/>
                <a:gd name="connsiteY63" fmla="*/ 2186341 h 2666074"/>
                <a:gd name="connsiteX64" fmla="*/ 2724682 w 3798527"/>
                <a:gd name="connsiteY64" fmla="*/ 2263819 h 2666074"/>
                <a:gd name="connsiteX65" fmla="*/ 2711056 w 3798527"/>
                <a:gd name="connsiteY65" fmla="*/ 2268841 h 2666074"/>
                <a:gd name="connsiteX66" fmla="*/ 2708187 w 3798527"/>
                <a:gd name="connsiteY66" fmla="*/ 2269200 h 2666074"/>
                <a:gd name="connsiteX67" fmla="*/ 2658709 w 3798527"/>
                <a:gd name="connsiteY67" fmla="*/ 2168415 h 2666074"/>
                <a:gd name="connsiteX68" fmla="*/ 2656857 w 3798527"/>
                <a:gd name="connsiteY68" fmla="*/ 2168646 h 2666074"/>
                <a:gd name="connsiteX69" fmla="*/ 2629874 w 3798527"/>
                <a:gd name="connsiteY69" fmla="*/ 2171163 h 2666074"/>
                <a:gd name="connsiteX70" fmla="*/ 2567273 w 3798527"/>
                <a:gd name="connsiteY70" fmla="*/ 2158220 h 2666074"/>
                <a:gd name="connsiteX71" fmla="*/ 2566193 w 3798527"/>
                <a:gd name="connsiteY71" fmla="*/ 2157860 h 2666074"/>
                <a:gd name="connsiteX72" fmla="*/ 2488482 w 3798527"/>
                <a:gd name="connsiteY72" fmla="*/ 2082718 h 2666074"/>
                <a:gd name="connsiteX73" fmla="*/ 2487043 w 3798527"/>
                <a:gd name="connsiteY73" fmla="*/ 2079482 h 2666074"/>
                <a:gd name="connsiteX74" fmla="*/ 2472651 w 3798527"/>
                <a:gd name="connsiteY74" fmla="*/ 2014406 h 2666074"/>
                <a:gd name="connsiteX75" fmla="*/ 2473371 w 3798527"/>
                <a:gd name="connsiteY75" fmla="*/ 2003980 h 2666074"/>
                <a:gd name="connsiteX76" fmla="*/ 2473371 w 3798527"/>
                <a:gd name="connsiteY76" fmla="*/ 2002901 h 2666074"/>
                <a:gd name="connsiteX77" fmla="*/ 2514386 w 3798527"/>
                <a:gd name="connsiteY77" fmla="*/ 1907984 h 2666074"/>
                <a:gd name="connsiteX78" fmla="*/ 2516544 w 3798527"/>
                <a:gd name="connsiteY78" fmla="*/ 1905827 h 2666074"/>
                <a:gd name="connsiteX79" fmla="*/ 2575907 w 3798527"/>
                <a:gd name="connsiteY79" fmla="*/ 1867357 h 2666074"/>
                <a:gd name="connsiteX80" fmla="*/ 2577706 w 3798527"/>
                <a:gd name="connsiteY80" fmla="*/ 1866278 h 2666074"/>
                <a:gd name="connsiteX81" fmla="*/ 2629874 w 3798527"/>
                <a:gd name="connsiteY81" fmla="*/ 1857649 h 2666074"/>
                <a:gd name="connsiteX82" fmla="*/ 3291861 w 3798527"/>
                <a:gd name="connsiteY82" fmla="*/ 1747272 h 2666074"/>
                <a:gd name="connsiteX83" fmla="*/ 3291468 w 3798527"/>
                <a:gd name="connsiteY83" fmla="*/ 1747323 h 2666074"/>
                <a:gd name="connsiteX84" fmla="*/ 3360525 w 3798527"/>
                <a:gd name="connsiteY84" fmla="*/ 1756236 h 2666074"/>
                <a:gd name="connsiteX85" fmla="*/ 3362324 w 3798527"/>
                <a:gd name="connsiteY85" fmla="*/ 1756595 h 2666074"/>
                <a:gd name="connsiteX86" fmla="*/ 3342890 w 3798527"/>
                <a:gd name="connsiteY86" fmla="*/ 1865975 h 2666074"/>
                <a:gd name="connsiteX87" fmla="*/ 3291067 w 3798527"/>
                <a:gd name="connsiteY87" fmla="*/ 1857368 h 2666074"/>
                <a:gd name="connsiteX88" fmla="*/ 3238883 w 3798527"/>
                <a:gd name="connsiteY88" fmla="*/ 1865975 h 2666074"/>
                <a:gd name="connsiteX89" fmla="*/ 3219875 w 3798527"/>
                <a:gd name="connsiteY89" fmla="*/ 1756971 h 2666074"/>
                <a:gd name="connsiteX90" fmla="*/ 3140035 w 3798527"/>
                <a:gd name="connsiteY90" fmla="*/ 1794282 h 2666074"/>
                <a:gd name="connsiteX91" fmla="*/ 3076715 w 3798527"/>
                <a:gd name="connsiteY91" fmla="*/ 1855133 h 2666074"/>
                <a:gd name="connsiteX92" fmla="*/ 3076457 w 3798527"/>
                <a:gd name="connsiteY92" fmla="*/ 1855584 h 2666074"/>
                <a:gd name="connsiteX93" fmla="*/ 3175001 w 3798527"/>
                <a:gd name="connsiteY93" fmla="*/ 1907898 h 2666074"/>
                <a:gd name="connsiteX94" fmla="*/ 3134163 w 3798527"/>
                <a:gd name="connsiteY94" fmla="*/ 2002500 h 2666074"/>
                <a:gd name="connsiteX95" fmla="*/ 3025267 w 3798527"/>
                <a:gd name="connsiteY95" fmla="*/ 1987193 h 2666074"/>
                <a:gd name="connsiteX96" fmla="*/ 3025267 w 3798527"/>
                <a:gd name="connsiteY96" fmla="*/ 1987441 h 2666074"/>
                <a:gd name="connsiteX97" fmla="*/ 3024187 w 3798527"/>
                <a:gd name="connsiteY97" fmla="*/ 2014406 h 2666074"/>
                <a:gd name="connsiteX98" fmla="*/ 3035790 w 3798527"/>
                <a:gd name="connsiteY98" fmla="*/ 2092695 h 2666074"/>
                <a:gd name="connsiteX99" fmla="*/ 3067892 w 3798527"/>
                <a:gd name="connsiteY99" fmla="*/ 2160656 h 2666074"/>
                <a:gd name="connsiteX100" fmla="*/ 3149735 w 3798527"/>
                <a:gd name="connsiteY100" fmla="*/ 2082233 h 2666074"/>
                <a:gd name="connsiteX101" fmla="*/ 3227387 w 3798527"/>
                <a:gd name="connsiteY101" fmla="*/ 2157175 h 2666074"/>
                <a:gd name="connsiteX102" fmla="*/ 3178495 w 3798527"/>
                <a:gd name="connsiteY102" fmla="*/ 2256500 h 2666074"/>
                <a:gd name="connsiteX103" fmla="*/ 3178135 w 3798527"/>
                <a:gd name="connsiteY103" fmla="*/ 2256141 h 2666074"/>
                <a:gd name="connsiteX104" fmla="*/ 3118242 w 3798527"/>
                <a:gd name="connsiteY104" fmla="*/ 2217791 h 2666074"/>
                <a:gd name="connsiteX105" fmla="*/ 3118584 w 3798527"/>
                <a:gd name="connsiteY105" fmla="*/ 2218172 h 2666074"/>
                <a:gd name="connsiteX106" fmla="*/ 3179251 w 3798527"/>
                <a:gd name="connsiteY106" fmla="*/ 2257092 h 2666074"/>
                <a:gd name="connsiteX107" fmla="*/ 3179611 w 3798527"/>
                <a:gd name="connsiteY107" fmla="*/ 2257451 h 2666074"/>
                <a:gd name="connsiteX108" fmla="*/ 3291861 w 3798527"/>
                <a:gd name="connsiteY108" fmla="*/ 2281900 h 2666074"/>
                <a:gd name="connsiteX109" fmla="*/ 3371732 w 3798527"/>
                <a:gd name="connsiteY109" fmla="*/ 2269316 h 2666074"/>
                <a:gd name="connsiteX110" fmla="*/ 3374250 w 3798527"/>
                <a:gd name="connsiteY110" fmla="*/ 2268956 h 2666074"/>
                <a:gd name="connsiteX111" fmla="*/ 3387922 w 3798527"/>
                <a:gd name="connsiteY111" fmla="*/ 2263923 h 2666074"/>
                <a:gd name="connsiteX112" fmla="*/ 3496574 w 3798527"/>
                <a:gd name="connsiteY112" fmla="*/ 2186264 h 2666074"/>
                <a:gd name="connsiteX113" fmla="*/ 3510965 w 3798527"/>
                <a:gd name="connsiteY113" fmla="*/ 2167208 h 2666074"/>
                <a:gd name="connsiteX114" fmla="*/ 3558815 w 3798527"/>
                <a:gd name="connsiteY114" fmla="*/ 2014406 h 2666074"/>
                <a:gd name="connsiteX115" fmla="*/ 3558815 w 3798527"/>
                <a:gd name="connsiteY115" fmla="*/ 2002542 h 2666074"/>
                <a:gd name="connsiteX116" fmla="*/ 3558815 w 3798527"/>
                <a:gd name="connsiteY116" fmla="*/ 2002297 h 2666074"/>
                <a:gd name="connsiteX117" fmla="*/ 3449097 w 3798527"/>
                <a:gd name="connsiteY117" fmla="*/ 2018375 h 2666074"/>
                <a:gd name="connsiteX118" fmla="*/ 3449097 w 3798527"/>
                <a:gd name="connsiteY118" fmla="*/ 2014073 h 2666074"/>
                <a:gd name="connsiteX119" fmla="*/ 3413484 w 3798527"/>
                <a:gd name="connsiteY119" fmla="*/ 1915495 h 2666074"/>
                <a:gd name="connsiteX120" fmla="*/ 3512185 w 3798527"/>
                <a:gd name="connsiteY120" fmla="*/ 1863277 h 2666074"/>
                <a:gd name="connsiteX121" fmla="*/ 3512044 w 3798527"/>
                <a:gd name="connsiteY121" fmla="*/ 1863042 h 2666074"/>
                <a:gd name="connsiteX122" fmla="*/ 3363097 w 3798527"/>
                <a:gd name="connsiteY122" fmla="*/ 1756620 h 2666074"/>
                <a:gd name="connsiteX123" fmla="*/ 3361298 w 3798527"/>
                <a:gd name="connsiteY123" fmla="*/ 1756261 h 2666074"/>
                <a:gd name="connsiteX124" fmla="*/ 3291861 w 3798527"/>
                <a:gd name="connsiteY124" fmla="*/ 1747272 h 2666074"/>
                <a:gd name="connsiteX125" fmla="*/ 2629874 w 3798527"/>
                <a:gd name="connsiteY125" fmla="*/ 1747272 h 2666074"/>
                <a:gd name="connsiteX126" fmla="*/ 2629210 w 3798527"/>
                <a:gd name="connsiteY126" fmla="*/ 1747358 h 2666074"/>
                <a:gd name="connsiteX127" fmla="*/ 2697825 w 3798527"/>
                <a:gd name="connsiteY127" fmla="*/ 1756236 h 2666074"/>
                <a:gd name="connsiteX128" fmla="*/ 2699620 w 3798527"/>
                <a:gd name="connsiteY128" fmla="*/ 1756595 h 2666074"/>
                <a:gd name="connsiteX129" fmla="*/ 2680235 w 3798527"/>
                <a:gd name="connsiteY129" fmla="*/ 1865974 h 2666074"/>
                <a:gd name="connsiteX130" fmla="*/ 2628542 w 3798527"/>
                <a:gd name="connsiteY130" fmla="*/ 1857367 h 2666074"/>
                <a:gd name="connsiteX131" fmla="*/ 2576489 w 3798527"/>
                <a:gd name="connsiteY131" fmla="*/ 1865974 h 2666074"/>
                <a:gd name="connsiteX132" fmla="*/ 2557198 w 3798527"/>
                <a:gd name="connsiteY132" fmla="*/ 1757125 h 2666074"/>
                <a:gd name="connsiteX133" fmla="*/ 2477688 w 3798527"/>
                <a:gd name="connsiteY133" fmla="*/ 1794282 h 2666074"/>
                <a:gd name="connsiteX134" fmla="*/ 2414368 w 3798527"/>
                <a:gd name="connsiteY134" fmla="*/ 1855133 h 2666074"/>
                <a:gd name="connsiteX135" fmla="*/ 2414030 w 3798527"/>
                <a:gd name="connsiteY135" fmla="*/ 1855920 h 2666074"/>
                <a:gd name="connsiteX136" fmla="*/ 2512296 w 3798527"/>
                <a:gd name="connsiteY136" fmla="*/ 1907897 h 2666074"/>
                <a:gd name="connsiteX137" fmla="*/ 2471458 w 3798527"/>
                <a:gd name="connsiteY137" fmla="*/ 2002499 h 2666074"/>
                <a:gd name="connsiteX138" fmla="*/ 2363280 w 3798527"/>
                <a:gd name="connsiteY138" fmla="*/ 1987293 h 2666074"/>
                <a:gd name="connsiteX139" fmla="*/ 2363280 w 3798527"/>
                <a:gd name="connsiteY139" fmla="*/ 1987441 h 2666074"/>
                <a:gd name="connsiteX140" fmla="*/ 2362200 w 3798527"/>
                <a:gd name="connsiteY140" fmla="*/ 2014406 h 2666074"/>
                <a:gd name="connsiteX141" fmla="*/ 2373803 w 3798527"/>
                <a:gd name="connsiteY141" fmla="*/ 2092695 h 2666074"/>
                <a:gd name="connsiteX142" fmla="*/ 2405681 w 3798527"/>
                <a:gd name="connsiteY142" fmla="*/ 2160181 h 2666074"/>
                <a:gd name="connsiteX143" fmla="*/ 2486854 w 3798527"/>
                <a:gd name="connsiteY143" fmla="*/ 2082233 h 2666074"/>
                <a:gd name="connsiteX144" fmla="*/ 2564681 w 3798527"/>
                <a:gd name="connsiteY144" fmla="*/ 2157175 h 2666074"/>
                <a:gd name="connsiteX145" fmla="*/ 2516112 w 3798527"/>
                <a:gd name="connsiteY145" fmla="*/ 2256353 h 2666074"/>
                <a:gd name="connsiteX146" fmla="*/ 2517264 w 3798527"/>
                <a:gd name="connsiteY146" fmla="*/ 2257092 h 2666074"/>
                <a:gd name="connsiteX147" fmla="*/ 2517623 w 3798527"/>
                <a:gd name="connsiteY147" fmla="*/ 2257451 h 2666074"/>
                <a:gd name="connsiteX148" fmla="*/ 2629874 w 3798527"/>
                <a:gd name="connsiteY148" fmla="*/ 2281900 h 2666074"/>
                <a:gd name="connsiteX149" fmla="*/ 2709384 w 3798527"/>
                <a:gd name="connsiteY149" fmla="*/ 2269316 h 2666074"/>
                <a:gd name="connsiteX150" fmla="*/ 2712262 w 3798527"/>
                <a:gd name="connsiteY150" fmla="*/ 2268956 h 2666074"/>
                <a:gd name="connsiteX151" fmla="*/ 2725934 w 3798527"/>
                <a:gd name="connsiteY151" fmla="*/ 2263923 h 2666074"/>
                <a:gd name="connsiteX152" fmla="*/ 2834586 w 3798527"/>
                <a:gd name="connsiteY152" fmla="*/ 2186264 h 2666074"/>
                <a:gd name="connsiteX153" fmla="*/ 2848977 w 3798527"/>
                <a:gd name="connsiteY153" fmla="*/ 2167208 h 2666074"/>
                <a:gd name="connsiteX154" fmla="*/ 2896827 w 3798527"/>
                <a:gd name="connsiteY154" fmla="*/ 2014406 h 2666074"/>
                <a:gd name="connsiteX155" fmla="*/ 2896827 w 3798527"/>
                <a:gd name="connsiteY155" fmla="*/ 2002542 h 2666074"/>
                <a:gd name="connsiteX156" fmla="*/ 2896827 w 3798527"/>
                <a:gd name="connsiteY156" fmla="*/ 2001103 h 2666074"/>
                <a:gd name="connsiteX157" fmla="*/ 2893230 w 3798527"/>
                <a:gd name="connsiteY157" fmla="*/ 1968386 h 2666074"/>
                <a:gd name="connsiteX158" fmla="*/ 2870204 w 3798527"/>
                <a:gd name="connsiteY158" fmla="*/ 1896839 h 2666074"/>
                <a:gd name="connsiteX159" fmla="*/ 2851136 w 3798527"/>
                <a:gd name="connsiteY159" fmla="*/ 1864840 h 2666074"/>
                <a:gd name="connsiteX160" fmla="*/ 2850057 w 3798527"/>
                <a:gd name="connsiteY160" fmla="*/ 1863042 h 2666074"/>
                <a:gd name="connsiteX161" fmla="*/ 2701109 w 3798527"/>
                <a:gd name="connsiteY161" fmla="*/ 1756620 h 2666074"/>
                <a:gd name="connsiteX162" fmla="*/ 2699310 w 3798527"/>
                <a:gd name="connsiteY162" fmla="*/ 1756261 h 2666074"/>
                <a:gd name="connsiteX163" fmla="*/ 2629874 w 3798527"/>
                <a:gd name="connsiteY163" fmla="*/ 1747272 h 2666074"/>
                <a:gd name="connsiteX164" fmla="*/ 0 w 3798527"/>
                <a:gd name="connsiteY164" fmla="*/ 1526609 h 2666074"/>
                <a:gd name="connsiteX165" fmla="*/ 641488 w 3798527"/>
                <a:gd name="connsiteY165" fmla="*/ 1526609 h 2666074"/>
                <a:gd name="connsiteX166" fmla="*/ 867916 w 3798527"/>
                <a:gd name="connsiteY166" fmla="*/ 1666746 h 2666074"/>
                <a:gd name="connsiteX167" fmla="*/ 2292724 w 3798527"/>
                <a:gd name="connsiteY167" fmla="*/ 1666746 h 2666074"/>
                <a:gd name="connsiteX168" fmla="*/ 2519152 w 3798527"/>
                <a:gd name="connsiteY168" fmla="*/ 1526609 h 2666074"/>
                <a:gd name="connsiteX169" fmla="*/ 3798527 w 3798527"/>
                <a:gd name="connsiteY169" fmla="*/ 1526609 h 2666074"/>
                <a:gd name="connsiteX170" fmla="*/ 3687653 w 3798527"/>
                <a:gd name="connsiteY170" fmla="*/ 2319155 h 2666074"/>
                <a:gd name="connsiteX171" fmla="*/ 3375549 w 3798527"/>
                <a:gd name="connsiteY171" fmla="*/ 2666074 h 2666074"/>
                <a:gd name="connsiteX172" fmla="*/ 2314323 w 3798527"/>
                <a:gd name="connsiteY172" fmla="*/ 2666074 h 2666074"/>
                <a:gd name="connsiteX173" fmla="*/ 1484565 w 3798527"/>
                <a:gd name="connsiteY173" fmla="*/ 2666074 h 2666074"/>
                <a:gd name="connsiteX174" fmla="*/ 422979 w 3798527"/>
                <a:gd name="connsiteY174" fmla="*/ 2666074 h 2666074"/>
                <a:gd name="connsiteX175" fmla="*/ 111234 w 3798527"/>
                <a:gd name="connsiteY175" fmla="*/ 2319155 h 2666074"/>
                <a:gd name="connsiteX176" fmla="*/ 0 w 3798527"/>
                <a:gd name="connsiteY176" fmla="*/ 1526609 h 2666074"/>
                <a:gd name="connsiteX177" fmla="*/ 2145322 w 3798527"/>
                <a:gd name="connsiteY177" fmla="*/ 1274625 h 2666074"/>
                <a:gd name="connsiteX178" fmla="*/ 2145322 w 3798527"/>
                <a:gd name="connsiteY178" fmla="*/ 1383801 h 2666074"/>
                <a:gd name="connsiteX179" fmla="*/ 2293235 w 3798527"/>
                <a:gd name="connsiteY179" fmla="*/ 1383801 h 2666074"/>
                <a:gd name="connsiteX180" fmla="*/ 2293235 w 3798527"/>
                <a:gd name="connsiteY180" fmla="*/ 1274625 h 2666074"/>
                <a:gd name="connsiteX181" fmla="*/ 1874281 w 3798527"/>
                <a:gd name="connsiteY181" fmla="*/ 1274625 h 2666074"/>
                <a:gd name="connsiteX182" fmla="*/ 1874281 w 3798527"/>
                <a:gd name="connsiteY182" fmla="*/ 1383801 h 2666074"/>
                <a:gd name="connsiteX183" fmla="*/ 2022194 w 3798527"/>
                <a:gd name="connsiteY183" fmla="*/ 1383801 h 2666074"/>
                <a:gd name="connsiteX184" fmla="*/ 2022194 w 3798527"/>
                <a:gd name="connsiteY184" fmla="*/ 1274625 h 2666074"/>
                <a:gd name="connsiteX185" fmla="*/ 1601646 w 3798527"/>
                <a:gd name="connsiteY185" fmla="*/ 1274625 h 2666074"/>
                <a:gd name="connsiteX186" fmla="*/ 1601646 w 3798527"/>
                <a:gd name="connsiteY186" fmla="*/ 1383801 h 2666074"/>
                <a:gd name="connsiteX187" fmla="*/ 1749559 w 3798527"/>
                <a:gd name="connsiteY187" fmla="*/ 1383801 h 2666074"/>
                <a:gd name="connsiteX188" fmla="*/ 1749559 w 3798527"/>
                <a:gd name="connsiteY188" fmla="*/ 1274625 h 2666074"/>
                <a:gd name="connsiteX189" fmla="*/ 1329011 w 3798527"/>
                <a:gd name="connsiteY189" fmla="*/ 1274625 h 2666074"/>
                <a:gd name="connsiteX190" fmla="*/ 1329011 w 3798527"/>
                <a:gd name="connsiteY190" fmla="*/ 1383801 h 2666074"/>
                <a:gd name="connsiteX191" fmla="*/ 1476925 w 3798527"/>
                <a:gd name="connsiteY191" fmla="*/ 1383801 h 2666074"/>
                <a:gd name="connsiteX192" fmla="*/ 1476925 w 3798527"/>
                <a:gd name="connsiteY192" fmla="*/ 1274625 h 2666074"/>
                <a:gd name="connsiteX193" fmla="*/ 1057970 w 3798527"/>
                <a:gd name="connsiteY193" fmla="*/ 1274625 h 2666074"/>
                <a:gd name="connsiteX194" fmla="*/ 1057970 w 3798527"/>
                <a:gd name="connsiteY194" fmla="*/ 1383801 h 2666074"/>
                <a:gd name="connsiteX195" fmla="*/ 1205882 w 3798527"/>
                <a:gd name="connsiteY195" fmla="*/ 1383801 h 2666074"/>
                <a:gd name="connsiteX196" fmla="*/ 1205882 w 3798527"/>
                <a:gd name="connsiteY196" fmla="*/ 1274625 h 2666074"/>
                <a:gd name="connsiteX197" fmla="*/ 785335 w 3798527"/>
                <a:gd name="connsiteY197" fmla="*/ 1274625 h 2666074"/>
                <a:gd name="connsiteX198" fmla="*/ 785335 w 3798527"/>
                <a:gd name="connsiteY198" fmla="*/ 1383801 h 2666074"/>
                <a:gd name="connsiteX199" fmla="*/ 933248 w 3798527"/>
                <a:gd name="connsiteY199" fmla="*/ 1383801 h 2666074"/>
                <a:gd name="connsiteX200" fmla="*/ 933248 w 3798527"/>
                <a:gd name="connsiteY200" fmla="*/ 1274625 h 2666074"/>
                <a:gd name="connsiteX201" fmla="*/ 527049 w 3798527"/>
                <a:gd name="connsiteY201" fmla="*/ 1274625 h 2666074"/>
                <a:gd name="connsiteX202" fmla="*/ 527049 w 3798527"/>
                <a:gd name="connsiteY202" fmla="*/ 1383801 h 2666074"/>
                <a:gd name="connsiteX203" fmla="*/ 674962 w 3798527"/>
                <a:gd name="connsiteY203" fmla="*/ 1383801 h 2666074"/>
                <a:gd name="connsiteX204" fmla="*/ 674962 w 3798527"/>
                <a:gd name="connsiteY204" fmla="*/ 1274625 h 2666074"/>
                <a:gd name="connsiteX205" fmla="*/ 2250549 w 3798527"/>
                <a:gd name="connsiteY205" fmla="*/ 1061900 h 2666074"/>
                <a:gd name="connsiteX206" fmla="*/ 2250549 w 3798527"/>
                <a:gd name="connsiteY206" fmla="*/ 1169493 h 2666074"/>
                <a:gd name="connsiteX207" fmla="*/ 2398463 w 3798527"/>
                <a:gd name="connsiteY207" fmla="*/ 1169493 h 2666074"/>
                <a:gd name="connsiteX208" fmla="*/ 2398463 w 3798527"/>
                <a:gd name="connsiteY208" fmla="*/ 1061900 h 2666074"/>
                <a:gd name="connsiteX209" fmla="*/ 1977915 w 3798527"/>
                <a:gd name="connsiteY209" fmla="*/ 1061900 h 2666074"/>
                <a:gd name="connsiteX210" fmla="*/ 1977915 w 3798527"/>
                <a:gd name="connsiteY210" fmla="*/ 1169493 h 2666074"/>
                <a:gd name="connsiteX211" fmla="*/ 2125828 w 3798527"/>
                <a:gd name="connsiteY211" fmla="*/ 1169493 h 2666074"/>
                <a:gd name="connsiteX212" fmla="*/ 2125828 w 3798527"/>
                <a:gd name="connsiteY212" fmla="*/ 1061900 h 2666074"/>
                <a:gd name="connsiteX213" fmla="*/ 1705279 w 3798527"/>
                <a:gd name="connsiteY213" fmla="*/ 1061900 h 2666074"/>
                <a:gd name="connsiteX214" fmla="*/ 1705279 w 3798527"/>
                <a:gd name="connsiteY214" fmla="*/ 1169493 h 2666074"/>
                <a:gd name="connsiteX215" fmla="*/ 1853193 w 3798527"/>
                <a:gd name="connsiteY215" fmla="*/ 1169493 h 2666074"/>
                <a:gd name="connsiteX216" fmla="*/ 1853193 w 3798527"/>
                <a:gd name="connsiteY216" fmla="*/ 1061900 h 2666074"/>
                <a:gd name="connsiteX217" fmla="*/ 1434238 w 3798527"/>
                <a:gd name="connsiteY217" fmla="*/ 1061900 h 2666074"/>
                <a:gd name="connsiteX218" fmla="*/ 1434238 w 3798527"/>
                <a:gd name="connsiteY218" fmla="*/ 1169493 h 2666074"/>
                <a:gd name="connsiteX219" fmla="*/ 1582151 w 3798527"/>
                <a:gd name="connsiteY219" fmla="*/ 1169493 h 2666074"/>
                <a:gd name="connsiteX220" fmla="*/ 1582151 w 3798527"/>
                <a:gd name="connsiteY220" fmla="*/ 1061900 h 2666074"/>
                <a:gd name="connsiteX221" fmla="*/ 1161604 w 3798527"/>
                <a:gd name="connsiteY221" fmla="*/ 1061900 h 2666074"/>
                <a:gd name="connsiteX222" fmla="*/ 1161604 w 3798527"/>
                <a:gd name="connsiteY222" fmla="*/ 1169493 h 2666074"/>
                <a:gd name="connsiteX223" fmla="*/ 1309516 w 3798527"/>
                <a:gd name="connsiteY223" fmla="*/ 1169493 h 2666074"/>
                <a:gd name="connsiteX224" fmla="*/ 1309516 w 3798527"/>
                <a:gd name="connsiteY224" fmla="*/ 1061900 h 2666074"/>
                <a:gd name="connsiteX225" fmla="*/ 888968 w 3798527"/>
                <a:gd name="connsiteY225" fmla="*/ 1061900 h 2666074"/>
                <a:gd name="connsiteX226" fmla="*/ 888968 w 3798527"/>
                <a:gd name="connsiteY226" fmla="*/ 1169493 h 2666074"/>
                <a:gd name="connsiteX227" fmla="*/ 1036882 w 3798527"/>
                <a:gd name="connsiteY227" fmla="*/ 1169493 h 2666074"/>
                <a:gd name="connsiteX228" fmla="*/ 1036882 w 3798527"/>
                <a:gd name="connsiteY228" fmla="*/ 1061900 h 2666074"/>
                <a:gd name="connsiteX229" fmla="*/ 630682 w 3798527"/>
                <a:gd name="connsiteY229" fmla="*/ 1061900 h 2666074"/>
                <a:gd name="connsiteX230" fmla="*/ 630682 w 3798527"/>
                <a:gd name="connsiteY230" fmla="*/ 1169493 h 2666074"/>
                <a:gd name="connsiteX231" fmla="*/ 778596 w 3798527"/>
                <a:gd name="connsiteY231" fmla="*/ 1169493 h 2666074"/>
                <a:gd name="connsiteX232" fmla="*/ 778596 w 3798527"/>
                <a:gd name="connsiteY232" fmla="*/ 1061900 h 2666074"/>
                <a:gd name="connsiteX233" fmla="*/ 2593337 w 3798527"/>
                <a:gd name="connsiteY233" fmla="*/ 671375 h 2666074"/>
                <a:gd name="connsiteX234" fmla="*/ 2593337 w 3798527"/>
                <a:gd name="connsiteY234" fmla="*/ 780551 h 2666074"/>
                <a:gd name="connsiteX235" fmla="*/ 2741249 w 3798527"/>
                <a:gd name="connsiteY235" fmla="*/ 780551 h 2666074"/>
                <a:gd name="connsiteX236" fmla="*/ 2741249 w 3798527"/>
                <a:gd name="connsiteY236" fmla="*/ 671375 h 2666074"/>
                <a:gd name="connsiteX237" fmla="*/ 2320701 w 3798527"/>
                <a:gd name="connsiteY237" fmla="*/ 671375 h 2666074"/>
                <a:gd name="connsiteX238" fmla="*/ 2320701 w 3798527"/>
                <a:gd name="connsiteY238" fmla="*/ 780551 h 2666074"/>
                <a:gd name="connsiteX239" fmla="*/ 2468614 w 3798527"/>
                <a:gd name="connsiteY239" fmla="*/ 780551 h 2666074"/>
                <a:gd name="connsiteX240" fmla="*/ 2468614 w 3798527"/>
                <a:gd name="connsiteY240" fmla="*/ 671375 h 2666074"/>
                <a:gd name="connsiteX241" fmla="*/ 2048066 w 3798527"/>
                <a:gd name="connsiteY241" fmla="*/ 671375 h 2666074"/>
                <a:gd name="connsiteX242" fmla="*/ 2048066 w 3798527"/>
                <a:gd name="connsiteY242" fmla="*/ 780551 h 2666074"/>
                <a:gd name="connsiteX243" fmla="*/ 2195979 w 3798527"/>
                <a:gd name="connsiteY243" fmla="*/ 780551 h 2666074"/>
                <a:gd name="connsiteX244" fmla="*/ 2195979 w 3798527"/>
                <a:gd name="connsiteY244" fmla="*/ 671375 h 2666074"/>
                <a:gd name="connsiteX245" fmla="*/ 1777026 w 3798527"/>
                <a:gd name="connsiteY245" fmla="*/ 671375 h 2666074"/>
                <a:gd name="connsiteX246" fmla="*/ 1777026 w 3798527"/>
                <a:gd name="connsiteY246" fmla="*/ 780551 h 2666074"/>
                <a:gd name="connsiteX247" fmla="*/ 1924939 w 3798527"/>
                <a:gd name="connsiteY247" fmla="*/ 780551 h 2666074"/>
                <a:gd name="connsiteX248" fmla="*/ 1924939 w 3798527"/>
                <a:gd name="connsiteY248" fmla="*/ 671375 h 2666074"/>
                <a:gd name="connsiteX249" fmla="*/ 1504390 w 3798527"/>
                <a:gd name="connsiteY249" fmla="*/ 671375 h 2666074"/>
                <a:gd name="connsiteX250" fmla="*/ 1504390 w 3798527"/>
                <a:gd name="connsiteY250" fmla="*/ 780551 h 2666074"/>
                <a:gd name="connsiteX251" fmla="*/ 1652304 w 3798527"/>
                <a:gd name="connsiteY251" fmla="*/ 780551 h 2666074"/>
                <a:gd name="connsiteX252" fmla="*/ 1652304 w 3798527"/>
                <a:gd name="connsiteY252" fmla="*/ 671375 h 2666074"/>
                <a:gd name="connsiteX253" fmla="*/ 1246104 w 3798527"/>
                <a:gd name="connsiteY253" fmla="*/ 671375 h 2666074"/>
                <a:gd name="connsiteX254" fmla="*/ 1246104 w 3798527"/>
                <a:gd name="connsiteY254" fmla="*/ 780551 h 2666074"/>
                <a:gd name="connsiteX255" fmla="*/ 1394019 w 3798527"/>
                <a:gd name="connsiteY255" fmla="*/ 780551 h 2666074"/>
                <a:gd name="connsiteX256" fmla="*/ 1394019 w 3798527"/>
                <a:gd name="connsiteY256" fmla="*/ 671375 h 2666074"/>
                <a:gd name="connsiteX257" fmla="*/ 975063 w 3798527"/>
                <a:gd name="connsiteY257" fmla="*/ 671375 h 2666074"/>
                <a:gd name="connsiteX258" fmla="*/ 975063 w 3798527"/>
                <a:gd name="connsiteY258" fmla="*/ 780551 h 2666074"/>
                <a:gd name="connsiteX259" fmla="*/ 1122977 w 3798527"/>
                <a:gd name="connsiteY259" fmla="*/ 780551 h 2666074"/>
                <a:gd name="connsiteX260" fmla="*/ 1122977 w 3798527"/>
                <a:gd name="connsiteY260" fmla="*/ 671375 h 2666074"/>
                <a:gd name="connsiteX261" fmla="*/ 869898 w 3798527"/>
                <a:gd name="connsiteY261" fmla="*/ 509450 h 2666074"/>
                <a:gd name="connsiteX262" fmla="*/ 2787701 w 3798527"/>
                <a:gd name="connsiteY262" fmla="*/ 509450 h 2666074"/>
                <a:gd name="connsiteX263" fmla="*/ 2940031 w 3798527"/>
                <a:gd name="connsiteY263" fmla="*/ 898387 h 2666074"/>
                <a:gd name="connsiteX264" fmla="*/ 717739 w 3798527"/>
                <a:gd name="connsiteY264" fmla="*/ 898387 h 2666074"/>
                <a:gd name="connsiteX265" fmla="*/ 702066 w 3798527"/>
                <a:gd name="connsiteY265" fmla="*/ 938075 h 2666074"/>
                <a:gd name="connsiteX266" fmla="*/ 2955575 w 3798527"/>
                <a:gd name="connsiteY266" fmla="*/ 938075 h 2666074"/>
                <a:gd name="connsiteX267" fmla="*/ 2966417 w 3798527"/>
                <a:gd name="connsiteY267" fmla="*/ 938075 h 2666074"/>
                <a:gd name="connsiteX268" fmla="*/ 3122728 w 3798527"/>
                <a:gd name="connsiteY268" fmla="*/ 938075 h 2666074"/>
                <a:gd name="connsiteX269" fmla="*/ 3169126 w 3798527"/>
                <a:gd name="connsiteY269" fmla="*/ 1061900 h 2666074"/>
                <a:gd name="connsiteX270" fmla="*/ 2531840 w 3798527"/>
                <a:gd name="connsiteY270" fmla="*/ 1061900 h 2666074"/>
                <a:gd name="connsiteX271" fmla="*/ 2515213 w 3798527"/>
                <a:gd name="connsiteY271" fmla="*/ 1171076 h 2666074"/>
                <a:gd name="connsiteX272" fmla="*/ 3210303 w 3798527"/>
                <a:gd name="connsiteY272" fmla="*/ 1171076 h 2666074"/>
                <a:gd name="connsiteX273" fmla="*/ 3245108 w 3798527"/>
                <a:gd name="connsiteY273" fmla="*/ 1265877 h 2666074"/>
                <a:gd name="connsiteX274" fmla="*/ 3245414 w 3798527"/>
                <a:gd name="connsiteY274" fmla="*/ 1266687 h 2666074"/>
                <a:gd name="connsiteX275" fmla="*/ 2455538 w 3798527"/>
                <a:gd name="connsiteY275" fmla="*/ 1266687 h 2666074"/>
                <a:gd name="connsiteX276" fmla="*/ 2445061 w 3798527"/>
                <a:gd name="connsiteY276" fmla="*/ 1375864 h 2666074"/>
                <a:gd name="connsiteX277" fmla="*/ 3286588 w 3798527"/>
                <a:gd name="connsiteY277" fmla="*/ 1375864 h 2666074"/>
                <a:gd name="connsiteX278" fmla="*/ 3326352 w 3798527"/>
                <a:gd name="connsiteY278" fmla="*/ 1482587 h 2666074"/>
                <a:gd name="connsiteX279" fmla="*/ 2519152 w 3798527"/>
                <a:gd name="connsiteY279" fmla="*/ 1482587 h 2666074"/>
                <a:gd name="connsiteX280" fmla="*/ 2292724 w 3798527"/>
                <a:gd name="connsiteY280" fmla="*/ 1622516 h 2666074"/>
                <a:gd name="connsiteX281" fmla="*/ 867916 w 3798527"/>
                <a:gd name="connsiteY281" fmla="*/ 1622516 h 2666074"/>
                <a:gd name="connsiteX282" fmla="*/ 641488 w 3798527"/>
                <a:gd name="connsiteY282" fmla="*/ 1482587 h 2666074"/>
                <a:gd name="connsiteX283" fmla="*/ 310392 w 3798527"/>
                <a:gd name="connsiteY283" fmla="*/ 1482587 h 2666074"/>
                <a:gd name="connsiteX284" fmla="*/ 513515 w 3798527"/>
                <a:gd name="connsiteY284" fmla="*/ 938075 h 2666074"/>
                <a:gd name="connsiteX285" fmla="*/ 701768 w 3798527"/>
                <a:gd name="connsiteY285" fmla="*/ 938075 h 2666074"/>
                <a:gd name="connsiteX286" fmla="*/ 1699365 w 3798527"/>
                <a:gd name="connsiteY286" fmla="*/ 330925 h 2666074"/>
                <a:gd name="connsiteX287" fmla="*/ 2667850 w 3798527"/>
                <a:gd name="connsiteY287" fmla="*/ 330925 h 2666074"/>
                <a:gd name="connsiteX288" fmla="*/ 2701597 w 3798527"/>
                <a:gd name="connsiteY288" fmla="*/ 483325 h 2666074"/>
                <a:gd name="connsiteX289" fmla="*/ 1665516 w 3798527"/>
                <a:gd name="connsiteY289" fmla="*/ 483325 h 2666074"/>
                <a:gd name="connsiteX290" fmla="*/ 969962 w 3798527"/>
                <a:gd name="connsiteY290" fmla="*/ 166589 h 2666074"/>
                <a:gd name="connsiteX291" fmla="*/ 1341077 w 3798527"/>
                <a:gd name="connsiteY291" fmla="*/ 166589 h 2666074"/>
                <a:gd name="connsiteX292" fmla="*/ 1341077 w 3798527"/>
                <a:gd name="connsiteY292" fmla="*/ 478100 h 2666074"/>
                <a:gd name="connsiteX293" fmla="*/ 969962 w 3798527"/>
                <a:gd name="connsiteY293" fmla="*/ 478100 h 2666074"/>
                <a:gd name="connsiteX294" fmla="*/ 923925 w 3798527"/>
                <a:gd name="connsiteY294" fmla="*/ 0 h 2666074"/>
                <a:gd name="connsiteX295" fmla="*/ 1388702 w 3798527"/>
                <a:gd name="connsiteY295" fmla="*/ 0 h 2666074"/>
                <a:gd name="connsiteX296" fmla="*/ 1388702 w 3798527"/>
                <a:gd name="connsiteY296" fmla="*/ 145688 h 2666074"/>
                <a:gd name="connsiteX297" fmla="*/ 923925 w 3798527"/>
                <a:gd name="connsiteY297" fmla="*/ 145688 h 2666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3798527" h="2666074">
                  <a:moveTo>
                    <a:pt x="1428316" y="2077472"/>
                  </a:moveTo>
                  <a:cubicBezTo>
                    <a:pt x="1361126" y="2077472"/>
                    <a:pt x="1306512" y="2132001"/>
                    <a:pt x="1306512" y="2199529"/>
                  </a:cubicBezTo>
                  <a:cubicBezTo>
                    <a:pt x="1306512" y="2266697"/>
                    <a:pt x="1361126" y="2321586"/>
                    <a:pt x="1428316" y="2321586"/>
                  </a:cubicBezTo>
                  <a:cubicBezTo>
                    <a:pt x="1495146" y="2321586"/>
                    <a:pt x="1549041" y="2266697"/>
                    <a:pt x="1549041" y="2199529"/>
                  </a:cubicBezTo>
                  <a:cubicBezTo>
                    <a:pt x="1549041" y="2132001"/>
                    <a:pt x="1495146" y="2077472"/>
                    <a:pt x="1428316" y="2077472"/>
                  </a:cubicBezTo>
                  <a:close/>
                  <a:moveTo>
                    <a:pt x="943409" y="2077472"/>
                  </a:moveTo>
                  <a:cubicBezTo>
                    <a:pt x="876579" y="2077472"/>
                    <a:pt x="822325" y="2132001"/>
                    <a:pt x="822325" y="2199529"/>
                  </a:cubicBezTo>
                  <a:cubicBezTo>
                    <a:pt x="822325" y="2266697"/>
                    <a:pt x="876579" y="2321586"/>
                    <a:pt x="943409" y="2321586"/>
                  </a:cubicBezTo>
                  <a:cubicBezTo>
                    <a:pt x="1010957" y="2321586"/>
                    <a:pt x="1064852" y="2266697"/>
                    <a:pt x="1064852" y="2199529"/>
                  </a:cubicBezTo>
                  <a:cubicBezTo>
                    <a:pt x="1064852" y="2132001"/>
                    <a:pt x="1010957" y="2077472"/>
                    <a:pt x="943409" y="2077472"/>
                  </a:cubicBezTo>
                  <a:close/>
                  <a:moveTo>
                    <a:pt x="460194" y="2077472"/>
                  </a:moveTo>
                  <a:cubicBezTo>
                    <a:pt x="393026" y="2077472"/>
                    <a:pt x="338137" y="2132001"/>
                    <a:pt x="338137" y="2199529"/>
                  </a:cubicBezTo>
                  <a:cubicBezTo>
                    <a:pt x="338137" y="2266697"/>
                    <a:pt x="393026" y="2321586"/>
                    <a:pt x="460194" y="2321586"/>
                  </a:cubicBezTo>
                  <a:cubicBezTo>
                    <a:pt x="527722" y="2321586"/>
                    <a:pt x="582251" y="2266697"/>
                    <a:pt x="582251" y="2199529"/>
                  </a:cubicBezTo>
                  <a:cubicBezTo>
                    <a:pt x="582251" y="2132001"/>
                    <a:pt x="527722" y="2077472"/>
                    <a:pt x="460194" y="2077472"/>
                  </a:cubicBezTo>
                  <a:close/>
                  <a:moveTo>
                    <a:pt x="3291861" y="1857649"/>
                  </a:moveTo>
                  <a:cubicBezTo>
                    <a:pt x="3309850" y="1857649"/>
                    <a:pt x="3327479" y="1860526"/>
                    <a:pt x="3343669" y="1866278"/>
                  </a:cubicBezTo>
                  <a:cubicBezTo>
                    <a:pt x="3344748" y="1866997"/>
                    <a:pt x="3345108" y="1866997"/>
                    <a:pt x="3345828" y="1867357"/>
                  </a:cubicBezTo>
                  <a:cubicBezTo>
                    <a:pt x="3371732" y="1876345"/>
                    <a:pt x="3394038" y="1892884"/>
                    <a:pt x="3411667" y="1913377"/>
                  </a:cubicBezTo>
                  <a:cubicBezTo>
                    <a:pt x="3412027" y="1914096"/>
                    <a:pt x="3413106" y="1914456"/>
                    <a:pt x="3413106" y="1915534"/>
                  </a:cubicBezTo>
                  <a:cubicBezTo>
                    <a:pt x="3435052" y="1942140"/>
                    <a:pt x="3448724" y="1976655"/>
                    <a:pt x="3448724" y="2014406"/>
                  </a:cubicBezTo>
                  <a:cubicBezTo>
                    <a:pt x="3448724" y="2015485"/>
                    <a:pt x="3448724" y="2016923"/>
                    <a:pt x="3448724" y="2018721"/>
                  </a:cubicBezTo>
                  <a:cubicBezTo>
                    <a:pt x="3448724" y="2019440"/>
                    <a:pt x="3448724" y="2019799"/>
                    <a:pt x="3448724" y="2020159"/>
                  </a:cubicBezTo>
                  <a:cubicBezTo>
                    <a:pt x="3447285" y="2053236"/>
                    <a:pt x="3436132" y="2083437"/>
                    <a:pt x="3417423" y="2108245"/>
                  </a:cubicBezTo>
                  <a:cubicBezTo>
                    <a:pt x="3417063" y="2108245"/>
                    <a:pt x="3416704" y="2108604"/>
                    <a:pt x="3416344" y="2108964"/>
                  </a:cubicBezTo>
                  <a:lnTo>
                    <a:pt x="3415803" y="2109465"/>
                  </a:lnTo>
                  <a:lnTo>
                    <a:pt x="3495675" y="2186341"/>
                  </a:lnTo>
                  <a:cubicBezTo>
                    <a:pt x="3466571" y="2220776"/>
                    <a:pt x="3429202" y="2247319"/>
                    <a:pt x="3387163" y="2263819"/>
                  </a:cubicBezTo>
                  <a:cubicBezTo>
                    <a:pt x="3382492" y="2265613"/>
                    <a:pt x="3377821" y="2267047"/>
                    <a:pt x="3373509" y="2268841"/>
                  </a:cubicBezTo>
                  <a:cubicBezTo>
                    <a:pt x="3372431" y="2268841"/>
                    <a:pt x="3372072" y="2269200"/>
                    <a:pt x="3370994" y="2269200"/>
                  </a:cubicBezTo>
                  <a:lnTo>
                    <a:pt x="3321409" y="2168406"/>
                  </a:lnTo>
                  <a:lnTo>
                    <a:pt x="3321539" y="2168355"/>
                  </a:lnTo>
                  <a:lnTo>
                    <a:pt x="3319204" y="2168646"/>
                  </a:lnTo>
                  <a:cubicBezTo>
                    <a:pt x="3309850" y="2170444"/>
                    <a:pt x="3300856" y="2171163"/>
                    <a:pt x="3291861" y="2171163"/>
                  </a:cubicBezTo>
                  <a:cubicBezTo>
                    <a:pt x="3269555" y="2171163"/>
                    <a:pt x="3247968" y="2166489"/>
                    <a:pt x="3228900" y="2158220"/>
                  </a:cubicBezTo>
                  <a:cubicBezTo>
                    <a:pt x="3228900" y="2157860"/>
                    <a:pt x="3228900" y="2157860"/>
                    <a:pt x="3228540" y="2157860"/>
                  </a:cubicBezTo>
                  <a:cubicBezTo>
                    <a:pt x="3194362" y="2142760"/>
                    <a:pt x="3166659" y="2115795"/>
                    <a:pt x="3150829" y="2082718"/>
                  </a:cubicBezTo>
                  <a:cubicBezTo>
                    <a:pt x="3150109" y="2081280"/>
                    <a:pt x="3149390" y="2080201"/>
                    <a:pt x="3148670" y="2079482"/>
                  </a:cubicBezTo>
                  <a:cubicBezTo>
                    <a:pt x="3140035" y="2059348"/>
                    <a:pt x="3134998" y="2037416"/>
                    <a:pt x="3134998" y="2014406"/>
                  </a:cubicBezTo>
                  <a:cubicBezTo>
                    <a:pt x="3134998" y="2011170"/>
                    <a:pt x="3134998" y="2007216"/>
                    <a:pt x="3135358" y="2003980"/>
                  </a:cubicBezTo>
                  <a:cubicBezTo>
                    <a:pt x="3135358" y="2003620"/>
                    <a:pt x="3135358" y="2002901"/>
                    <a:pt x="3135358" y="2002901"/>
                  </a:cubicBezTo>
                  <a:cubicBezTo>
                    <a:pt x="3137877" y="1966588"/>
                    <a:pt x="3152987" y="1933511"/>
                    <a:pt x="3176373" y="1907984"/>
                  </a:cubicBezTo>
                  <a:cubicBezTo>
                    <a:pt x="3177092" y="1906905"/>
                    <a:pt x="3178172" y="1906186"/>
                    <a:pt x="3178531" y="1905827"/>
                  </a:cubicBezTo>
                  <a:cubicBezTo>
                    <a:pt x="3194721" y="1888569"/>
                    <a:pt x="3215588" y="1875626"/>
                    <a:pt x="3237535" y="1867357"/>
                  </a:cubicBezTo>
                  <a:cubicBezTo>
                    <a:pt x="3238614" y="1866997"/>
                    <a:pt x="3239334" y="1866997"/>
                    <a:pt x="3239694" y="1866278"/>
                  </a:cubicBezTo>
                  <a:cubicBezTo>
                    <a:pt x="3255524" y="1860526"/>
                    <a:pt x="3273153" y="1857649"/>
                    <a:pt x="3291861" y="1857649"/>
                  </a:cubicBezTo>
                  <a:close/>
                  <a:moveTo>
                    <a:pt x="2629874" y="1857649"/>
                  </a:moveTo>
                  <a:cubicBezTo>
                    <a:pt x="2648222" y="1857649"/>
                    <a:pt x="2665491" y="1860526"/>
                    <a:pt x="2681681" y="1866278"/>
                  </a:cubicBezTo>
                  <a:cubicBezTo>
                    <a:pt x="2682401" y="1866997"/>
                    <a:pt x="2683120" y="1866997"/>
                    <a:pt x="2683840" y="1867357"/>
                  </a:cubicBezTo>
                  <a:cubicBezTo>
                    <a:pt x="2709384" y="1876345"/>
                    <a:pt x="2732410" y="1892884"/>
                    <a:pt x="2749679" y="1913377"/>
                  </a:cubicBezTo>
                  <a:lnTo>
                    <a:pt x="2751010" y="1915372"/>
                  </a:lnTo>
                  <a:lnTo>
                    <a:pt x="2849705" y="1863158"/>
                  </a:lnTo>
                  <a:cubicBezTo>
                    <a:pt x="2850064" y="1863516"/>
                    <a:pt x="2850784" y="1863875"/>
                    <a:pt x="2850784" y="1864950"/>
                  </a:cubicBezTo>
                  <a:cubicBezTo>
                    <a:pt x="2857619" y="1874987"/>
                    <a:pt x="2864094" y="1885741"/>
                    <a:pt x="2869850" y="1896854"/>
                  </a:cubicBezTo>
                  <a:cubicBezTo>
                    <a:pt x="2880641" y="1918720"/>
                    <a:pt x="2888196" y="1943096"/>
                    <a:pt x="2892872" y="1968189"/>
                  </a:cubicBezTo>
                  <a:cubicBezTo>
                    <a:pt x="2895031" y="1978943"/>
                    <a:pt x="2896110" y="1989697"/>
                    <a:pt x="2896470" y="2000809"/>
                  </a:cubicBezTo>
                  <a:cubicBezTo>
                    <a:pt x="2896470" y="2001168"/>
                    <a:pt x="2896470" y="2001885"/>
                    <a:pt x="2896470" y="2002243"/>
                  </a:cubicBezTo>
                  <a:lnTo>
                    <a:pt x="2786736" y="2018324"/>
                  </a:lnTo>
                  <a:lnTo>
                    <a:pt x="2786736" y="2018721"/>
                  </a:lnTo>
                  <a:cubicBezTo>
                    <a:pt x="2786736" y="2019440"/>
                    <a:pt x="2786736" y="2019799"/>
                    <a:pt x="2786736" y="2020159"/>
                  </a:cubicBezTo>
                  <a:cubicBezTo>
                    <a:pt x="2785297" y="2053236"/>
                    <a:pt x="2774144" y="2083437"/>
                    <a:pt x="2755435" y="2108245"/>
                  </a:cubicBezTo>
                  <a:cubicBezTo>
                    <a:pt x="2755076" y="2108245"/>
                    <a:pt x="2754716" y="2108604"/>
                    <a:pt x="2754356" y="2108964"/>
                  </a:cubicBezTo>
                  <a:lnTo>
                    <a:pt x="2753533" y="2109726"/>
                  </a:lnTo>
                  <a:lnTo>
                    <a:pt x="2832971" y="2186341"/>
                  </a:lnTo>
                  <a:cubicBezTo>
                    <a:pt x="2804285" y="2220776"/>
                    <a:pt x="2766635" y="2247319"/>
                    <a:pt x="2724682" y="2263819"/>
                  </a:cubicBezTo>
                  <a:cubicBezTo>
                    <a:pt x="2720020" y="2265613"/>
                    <a:pt x="2715359" y="2267047"/>
                    <a:pt x="2711056" y="2268841"/>
                  </a:cubicBezTo>
                  <a:cubicBezTo>
                    <a:pt x="2710339" y="2268841"/>
                    <a:pt x="2709622" y="2269200"/>
                    <a:pt x="2708187" y="2269200"/>
                  </a:cubicBezTo>
                  <a:lnTo>
                    <a:pt x="2658709" y="2168415"/>
                  </a:lnTo>
                  <a:lnTo>
                    <a:pt x="2656857" y="2168646"/>
                  </a:lnTo>
                  <a:cubicBezTo>
                    <a:pt x="2648222" y="2170444"/>
                    <a:pt x="2638868" y="2171163"/>
                    <a:pt x="2629874" y="2171163"/>
                  </a:cubicBezTo>
                  <a:cubicBezTo>
                    <a:pt x="2607568" y="2171163"/>
                    <a:pt x="2585981" y="2166489"/>
                    <a:pt x="2567273" y="2158220"/>
                  </a:cubicBezTo>
                  <a:cubicBezTo>
                    <a:pt x="2566913" y="2157860"/>
                    <a:pt x="2566913" y="2157860"/>
                    <a:pt x="2566193" y="2157860"/>
                  </a:cubicBezTo>
                  <a:cubicBezTo>
                    <a:pt x="2532374" y="2142760"/>
                    <a:pt x="2504672" y="2115795"/>
                    <a:pt x="2488482" y="2082718"/>
                  </a:cubicBezTo>
                  <a:cubicBezTo>
                    <a:pt x="2487762" y="2081280"/>
                    <a:pt x="2487402" y="2080201"/>
                    <a:pt x="2487043" y="2079482"/>
                  </a:cubicBezTo>
                  <a:cubicBezTo>
                    <a:pt x="2477688" y="2059348"/>
                    <a:pt x="2472651" y="2037416"/>
                    <a:pt x="2472651" y="2014406"/>
                  </a:cubicBezTo>
                  <a:cubicBezTo>
                    <a:pt x="2472651" y="2011170"/>
                    <a:pt x="2472651" y="2007216"/>
                    <a:pt x="2473371" y="2003980"/>
                  </a:cubicBezTo>
                  <a:cubicBezTo>
                    <a:pt x="2473371" y="2003620"/>
                    <a:pt x="2473371" y="2002901"/>
                    <a:pt x="2473371" y="2002901"/>
                  </a:cubicBezTo>
                  <a:cubicBezTo>
                    <a:pt x="2475889" y="1966588"/>
                    <a:pt x="2491360" y="1933511"/>
                    <a:pt x="2514386" y="1907984"/>
                  </a:cubicBezTo>
                  <a:cubicBezTo>
                    <a:pt x="2515105" y="1906905"/>
                    <a:pt x="2516184" y="1906186"/>
                    <a:pt x="2516544" y="1905827"/>
                  </a:cubicBezTo>
                  <a:cubicBezTo>
                    <a:pt x="2532734" y="1888569"/>
                    <a:pt x="2552882" y="1875626"/>
                    <a:pt x="2575907" y="1867357"/>
                  </a:cubicBezTo>
                  <a:cubicBezTo>
                    <a:pt x="2576267" y="1866997"/>
                    <a:pt x="2576987" y="1866997"/>
                    <a:pt x="2577706" y="1866278"/>
                  </a:cubicBezTo>
                  <a:cubicBezTo>
                    <a:pt x="2593536" y="1860526"/>
                    <a:pt x="2611165" y="1857649"/>
                    <a:pt x="2629874" y="1857649"/>
                  </a:cubicBezTo>
                  <a:close/>
                  <a:moveTo>
                    <a:pt x="3291861" y="1747272"/>
                  </a:moveTo>
                  <a:lnTo>
                    <a:pt x="3291468" y="1747323"/>
                  </a:lnTo>
                  <a:lnTo>
                    <a:pt x="3360525" y="1756236"/>
                  </a:lnTo>
                  <a:cubicBezTo>
                    <a:pt x="3361605" y="1756236"/>
                    <a:pt x="3361964" y="1756595"/>
                    <a:pt x="3362324" y="1756595"/>
                  </a:cubicBezTo>
                  <a:lnTo>
                    <a:pt x="3342890" y="1865975"/>
                  </a:lnTo>
                  <a:cubicBezTo>
                    <a:pt x="3326696" y="1860237"/>
                    <a:pt x="3309061" y="1857368"/>
                    <a:pt x="3291067" y="1857368"/>
                  </a:cubicBezTo>
                  <a:cubicBezTo>
                    <a:pt x="3272353" y="1857368"/>
                    <a:pt x="3254718" y="1860237"/>
                    <a:pt x="3238883" y="1865975"/>
                  </a:cubicBezTo>
                  <a:lnTo>
                    <a:pt x="3219875" y="1756971"/>
                  </a:lnTo>
                  <a:lnTo>
                    <a:pt x="3140035" y="1794282"/>
                  </a:lnTo>
                  <a:cubicBezTo>
                    <a:pt x="3115841" y="1811000"/>
                    <a:pt x="3094524" y="1831583"/>
                    <a:pt x="3076715" y="1855133"/>
                  </a:cubicBezTo>
                  <a:lnTo>
                    <a:pt x="3076457" y="1855584"/>
                  </a:lnTo>
                  <a:lnTo>
                    <a:pt x="3175001" y="1907898"/>
                  </a:lnTo>
                  <a:cubicBezTo>
                    <a:pt x="3151716" y="1933340"/>
                    <a:pt x="3136671" y="1966307"/>
                    <a:pt x="3134163" y="2002500"/>
                  </a:cubicBezTo>
                  <a:lnTo>
                    <a:pt x="3025267" y="1987193"/>
                  </a:lnTo>
                  <a:lnTo>
                    <a:pt x="3025267" y="1987441"/>
                  </a:lnTo>
                  <a:cubicBezTo>
                    <a:pt x="3024547" y="1996429"/>
                    <a:pt x="3024187" y="2005058"/>
                    <a:pt x="3024187" y="2014406"/>
                  </a:cubicBezTo>
                  <a:cubicBezTo>
                    <a:pt x="3024187" y="2041551"/>
                    <a:pt x="3028235" y="2067887"/>
                    <a:pt x="3035790" y="2092695"/>
                  </a:cubicBezTo>
                  <a:lnTo>
                    <a:pt x="3067892" y="2160656"/>
                  </a:lnTo>
                  <a:lnTo>
                    <a:pt x="3149735" y="2082233"/>
                  </a:lnTo>
                  <a:cubicBezTo>
                    <a:pt x="3165553" y="2115222"/>
                    <a:pt x="3193234" y="2142115"/>
                    <a:pt x="3227387" y="2157175"/>
                  </a:cubicBezTo>
                  <a:lnTo>
                    <a:pt x="3178495" y="2256500"/>
                  </a:lnTo>
                  <a:lnTo>
                    <a:pt x="3178135" y="2256141"/>
                  </a:lnTo>
                  <a:lnTo>
                    <a:pt x="3118242" y="2217791"/>
                  </a:lnTo>
                  <a:lnTo>
                    <a:pt x="3118584" y="2218172"/>
                  </a:lnTo>
                  <a:cubicBezTo>
                    <a:pt x="3136887" y="2233722"/>
                    <a:pt x="3157305" y="2246845"/>
                    <a:pt x="3179251" y="2257092"/>
                  </a:cubicBezTo>
                  <a:lnTo>
                    <a:pt x="3179611" y="2257451"/>
                  </a:lnTo>
                  <a:cubicBezTo>
                    <a:pt x="3214149" y="2272911"/>
                    <a:pt x="3251926" y="2281900"/>
                    <a:pt x="3291861" y="2281900"/>
                  </a:cubicBezTo>
                  <a:cubicBezTo>
                    <a:pt x="3319924" y="2281900"/>
                    <a:pt x="3346547" y="2277585"/>
                    <a:pt x="3371732" y="2269316"/>
                  </a:cubicBezTo>
                  <a:cubicBezTo>
                    <a:pt x="3372811" y="2269316"/>
                    <a:pt x="3373171" y="2268956"/>
                    <a:pt x="3374250" y="2268956"/>
                  </a:cubicBezTo>
                  <a:cubicBezTo>
                    <a:pt x="3378567" y="2267159"/>
                    <a:pt x="3383244" y="2265721"/>
                    <a:pt x="3387922" y="2263923"/>
                  </a:cubicBezTo>
                  <a:cubicBezTo>
                    <a:pt x="3430015" y="2247384"/>
                    <a:pt x="3467432" y="2220779"/>
                    <a:pt x="3496574" y="2186264"/>
                  </a:cubicBezTo>
                  <a:cubicBezTo>
                    <a:pt x="3501611" y="2180511"/>
                    <a:pt x="3506648" y="2173680"/>
                    <a:pt x="3510965" y="2167208"/>
                  </a:cubicBezTo>
                  <a:cubicBezTo>
                    <a:pt x="3541186" y="2123705"/>
                    <a:pt x="3558815" y="2070853"/>
                    <a:pt x="3558815" y="2014406"/>
                  </a:cubicBezTo>
                  <a:cubicBezTo>
                    <a:pt x="3558815" y="2010451"/>
                    <a:pt x="3558815" y="2006856"/>
                    <a:pt x="3558815" y="2002542"/>
                  </a:cubicBezTo>
                  <a:lnTo>
                    <a:pt x="3558815" y="2002297"/>
                  </a:lnTo>
                  <a:lnTo>
                    <a:pt x="3449097" y="2018375"/>
                  </a:lnTo>
                  <a:cubicBezTo>
                    <a:pt x="3449097" y="2016582"/>
                    <a:pt x="3449097" y="2015149"/>
                    <a:pt x="3449097" y="2014073"/>
                  </a:cubicBezTo>
                  <a:cubicBezTo>
                    <a:pt x="3449097" y="1976434"/>
                    <a:pt x="3435428" y="1942021"/>
                    <a:pt x="3413484" y="1915495"/>
                  </a:cubicBezTo>
                  <a:lnTo>
                    <a:pt x="3512185" y="1863277"/>
                  </a:lnTo>
                  <a:lnTo>
                    <a:pt x="3512044" y="1863042"/>
                  </a:lnTo>
                  <a:cubicBezTo>
                    <a:pt x="3476786" y="1811629"/>
                    <a:pt x="3424259" y="1773518"/>
                    <a:pt x="3363097" y="1756620"/>
                  </a:cubicBezTo>
                  <a:cubicBezTo>
                    <a:pt x="3362737" y="1756620"/>
                    <a:pt x="3362377" y="1756261"/>
                    <a:pt x="3361298" y="1756261"/>
                  </a:cubicBezTo>
                  <a:cubicBezTo>
                    <a:pt x="3338992" y="1750149"/>
                    <a:pt x="3315606" y="1747272"/>
                    <a:pt x="3291861" y="1747272"/>
                  </a:cubicBezTo>
                  <a:close/>
                  <a:moveTo>
                    <a:pt x="2629874" y="1747272"/>
                  </a:moveTo>
                  <a:lnTo>
                    <a:pt x="2629210" y="1747358"/>
                  </a:lnTo>
                  <a:lnTo>
                    <a:pt x="2697825" y="1756236"/>
                  </a:lnTo>
                  <a:cubicBezTo>
                    <a:pt x="2698543" y="1756236"/>
                    <a:pt x="2699261" y="1756595"/>
                    <a:pt x="2699620" y="1756595"/>
                  </a:cubicBezTo>
                  <a:lnTo>
                    <a:pt x="2680235" y="1865974"/>
                  </a:lnTo>
                  <a:cubicBezTo>
                    <a:pt x="2664081" y="1860236"/>
                    <a:pt x="2646850" y="1857367"/>
                    <a:pt x="2628542" y="1857367"/>
                  </a:cubicBezTo>
                  <a:cubicBezTo>
                    <a:pt x="2609875" y="1857367"/>
                    <a:pt x="2592285" y="1860236"/>
                    <a:pt x="2576489" y="1865974"/>
                  </a:cubicBezTo>
                  <a:lnTo>
                    <a:pt x="2557198" y="1757125"/>
                  </a:lnTo>
                  <a:lnTo>
                    <a:pt x="2477688" y="1794282"/>
                  </a:lnTo>
                  <a:cubicBezTo>
                    <a:pt x="2453403" y="1811000"/>
                    <a:pt x="2431997" y="1831583"/>
                    <a:pt x="2414368" y="1855133"/>
                  </a:cubicBezTo>
                  <a:lnTo>
                    <a:pt x="2414030" y="1855920"/>
                  </a:lnTo>
                  <a:lnTo>
                    <a:pt x="2512296" y="1907897"/>
                  </a:lnTo>
                  <a:cubicBezTo>
                    <a:pt x="2489370" y="1933339"/>
                    <a:pt x="2473966" y="1966307"/>
                    <a:pt x="2471458" y="2002499"/>
                  </a:cubicBezTo>
                  <a:lnTo>
                    <a:pt x="2363280" y="1987293"/>
                  </a:lnTo>
                  <a:lnTo>
                    <a:pt x="2363280" y="1987441"/>
                  </a:lnTo>
                  <a:cubicBezTo>
                    <a:pt x="2362920" y="1996429"/>
                    <a:pt x="2362200" y="2005058"/>
                    <a:pt x="2362200" y="2014406"/>
                  </a:cubicBezTo>
                  <a:cubicBezTo>
                    <a:pt x="2362200" y="2041551"/>
                    <a:pt x="2366248" y="2067887"/>
                    <a:pt x="2373803" y="2092695"/>
                  </a:cubicBezTo>
                  <a:lnTo>
                    <a:pt x="2405681" y="2160181"/>
                  </a:lnTo>
                  <a:lnTo>
                    <a:pt x="2486854" y="2082233"/>
                  </a:lnTo>
                  <a:cubicBezTo>
                    <a:pt x="2503068" y="2115222"/>
                    <a:pt x="2530812" y="2142115"/>
                    <a:pt x="2564681" y="2157175"/>
                  </a:cubicBezTo>
                  <a:lnTo>
                    <a:pt x="2516112" y="2256353"/>
                  </a:lnTo>
                  <a:lnTo>
                    <a:pt x="2517264" y="2257092"/>
                  </a:lnTo>
                  <a:lnTo>
                    <a:pt x="2517623" y="2257451"/>
                  </a:lnTo>
                  <a:cubicBezTo>
                    <a:pt x="2551802" y="2272911"/>
                    <a:pt x="2589938" y="2281900"/>
                    <a:pt x="2629874" y="2281900"/>
                  </a:cubicBezTo>
                  <a:cubicBezTo>
                    <a:pt x="2657217" y="2281900"/>
                    <a:pt x="2684200" y="2277585"/>
                    <a:pt x="2709384" y="2269316"/>
                  </a:cubicBezTo>
                  <a:cubicBezTo>
                    <a:pt x="2710823" y="2269316"/>
                    <a:pt x="2711543" y="2268956"/>
                    <a:pt x="2712262" y="2268956"/>
                  </a:cubicBezTo>
                  <a:cubicBezTo>
                    <a:pt x="2716580" y="2267159"/>
                    <a:pt x="2721257" y="2265721"/>
                    <a:pt x="2725934" y="2263923"/>
                  </a:cubicBezTo>
                  <a:cubicBezTo>
                    <a:pt x="2768028" y="2247384"/>
                    <a:pt x="2805804" y="2220779"/>
                    <a:pt x="2834586" y="2186264"/>
                  </a:cubicBezTo>
                  <a:cubicBezTo>
                    <a:pt x="2839623" y="2180511"/>
                    <a:pt x="2844660" y="2173680"/>
                    <a:pt x="2848977" y="2167208"/>
                  </a:cubicBezTo>
                  <a:cubicBezTo>
                    <a:pt x="2879198" y="2123705"/>
                    <a:pt x="2896827" y="2070853"/>
                    <a:pt x="2896827" y="2014406"/>
                  </a:cubicBezTo>
                  <a:cubicBezTo>
                    <a:pt x="2896827" y="2010451"/>
                    <a:pt x="2896827" y="2006856"/>
                    <a:pt x="2896827" y="2002542"/>
                  </a:cubicBezTo>
                  <a:cubicBezTo>
                    <a:pt x="2896827" y="2002182"/>
                    <a:pt x="2896827" y="2001463"/>
                    <a:pt x="2896827" y="2001103"/>
                  </a:cubicBezTo>
                  <a:cubicBezTo>
                    <a:pt x="2896468" y="1989958"/>
                    <a:pt x="2895388" y="1979172"/>
                    <a:pt x="2893230" y="1968386"/>
                  </a:cubicBezTo>
                  <a:cubicBezTo>
                    <a:pt x="2888553" y="1943218"/>
                    <a:pt x="2880997" y="1918770"/>
                    <a:pt x="2870204" y="1896839"/>
                  </a:cubicBezTo>
                  <a:cubicBezTo>
                    <a:pt x="2864448" y="1885693"/>
                    <a:pt x="2857972" y="1874907"/>
                    <a:pt x="2851136" y="1864840"/>
                  </a:cubicBezTo>
                  <a:cubicBezTo>
                    <a:pt x="2851136" y="1863761"/>
                    <a:pt x="2850416" y="1863402"/>
                    <a:pt x="2850057" y="1863042"/>
                  </a:cubicBezTo>
                  <a:cubicBezTo>
                    <a:pt x="2814799" y="1811629"/>
                    <a:pt x="2762271" y="1773518"/>
                    <a:pt x="2701109" y="1756620"/>
                  </a:cubicBezTo>
                  <a:cubicBezTo>
                    <a:pt x="2700750" y="1756620"/>
                    <a:pt x="2700030" y="1756261"/>
                    <a:pt x="2699310" y="1756261"/>
                  </a:cubicBezTo>
                  <a:cubicBezTo>
                    <a:pt x="2677004" y="1750149"/>
                    <a:pt x="2653619" y="1747272"/>
                    <a:pt x="2629874" y="1747272"/>
                  </a:cubicBezTo>
                  <a:close/>
                  <a:moveTo>
                    <a:pt x="0" y="1526609"/>
                  </a:moveTo>
                  <a:lnTo>
                    <a:pt x="641488" y="1526609"/>
                  </a:lnTo>
                  <a:lnTo>
                    <a:pt x="867916" y="1666746"/>
                  </a:lnTo>
                  <a:lnTo>
                    <a:pt x="2292724" y="1666746"/>
                  </a:lnTo>
                  <a:lnTo>
                    <a:pt x="2519152" y="1526609"/>
                  </a:lnTo>
                  <a:lnTo>
                    <a:pt x="3798527" y="1526609"/>
                  </a:lnTo>
                  <a:cubicBezTo>
                    <a:pt x="3798527" y="1526609"/>
                    <a:pt x="3772248" y="1982683"/>
                    <a:pt x="3687653" y="2319155"/>
                  </a:cubicBezTo>
                  <a:cubicBezTo>
                    <a:pt x="3634016" y="2530621"/>
                    <a:pt x="3511262" y="2666074"/>
                    <a:pt x="3375549" y="2666074"/>
                  </a:cubicBezTo>
                  <a:lnTo>
                    <a:pt x="2314323" y="2666074"/>
                  </a:lnTo>
                  <a:lnTo>
                    <a:pt x="1484565" y="2666074"/>
                  </a:lnTo>
                  <a:lnTo>
                    <a:pt x="422979" y="2666074"/>
                  </a:lnTo>
                  <a:cubicBezTo>
                    <a:pt x="287266" y="2666074"/>
                    <a:pt x="164512" y="2530621"/>
                    <a:pt x="111234" y="2319155"/>
                  </a:cubicBezTo>
                  <a:cubicBezTo>
                    <a:pt x="26279" y="1982683"/>
                    <a:pt x="0" y="1526609"/>
                    <a:pt x="0" y="1526609"/>
                  </a:cubicBezTo>
                  <a:close/>
                  <a:moveTo>
                    <a:pt x="2145322" y="1274625"/>
                  </a:moveTo>
                  <a:lnTo>
                    <a:pt x="2145322" y="1383801"/>
                  </a:lnTo>
                  <a:lnTo>
                    <a:pt x="2293235" y="1383801"/>
                  </a:lnTo>
                  <a:lnTo>
                    <a:pt x="2293235" y="1274625"/>
                  </a:lnTo>
                  <a:close/>
                  <a:moveTo>
                    <a:pt x="1874281" y="1274625"/>
                  </a:moveTo>
                  <a:lnTo>
                    <a:pt x="1874281" y="1383801"/>
                  </a:lnTo>
                  <a:lnTo>
                    <a:pt x="2022194" y="1383801"/>
                  </a:lnTo>
                  <a:lnTo>
                    <a:pt x="2022194" y="1274625"/>
                  </a:lnTo>
                  <a:close/>
                  <a:moveTo>
                    <a:pt x="1601646" y="1274625"/>
                  </a:moveTo>
                  <a:lnTo>
                    <a:pt x="1601646" y="1383801"/>
                  </a:lnTo>
                  <a:lnTo>
                    <a:pt x="1749559" y="1383801"/>
                  </a:lnTo>
                  <a:lnTo>
                    <a:pt x="1749559" y="1274625"/>
                  </a:lnTo>
                  <a:close/>
                  <a:moveTo>
                    <a:pt x="1329011" y="1274625"/>
                  </a:moveTo>
                  <a:lnTo>
                    <a:pt x="1329011" y="1383801"/>
                  </a:lnTo>
                  <a:lnTo>
                    <a:pt x="1476925" y="1383801"/>
                  </a:lnTo>
                  <a:lnTo>
                    <a:pt x="1476925" y="1274625"/>
                  </a:lnTo>
                  <a:close/>
                  <a:moveTo>
                    <a:pt x="1057970" y="1274625"/>
                  </a:moveTo>
                  <a:lnTo>
                    <a:pt x="1057970" y="1383801"/>
                  </a:lnTo>
                  <a:lnTo>
                    <a:pt x="1205882" y="1383801"/>
                  </a:lnTo>
                  <a:lnTo>
                    <a:pt x="1205882" y="1274625"/>
                  </a:lnTo>
                  <a:close/>
                  <a:moveTo>
                    <a:pt x="785335" y="1274625"/>
                  </a:moveTo>
                  <a:lnTo>
                    <a:pt x="785335" y="1383801"/>
                  </a:lnTo>
                  <a:lnTo>
                    <a:pt x="933248" y="1383801"/>
                  </a:lnTo>
                  <a:lnTo>
                    <a:pt x="933248" y="1274625"/>
                  </a:lnTo>
                  <a:close/>
                  <a:moveTo>
                    <a:pt x="527049" y="1274625"/>
                  </a:moveTo>
                  <a:lnTo>
                    <a:pt x="527049" y="1383801"/>
                  </a:lnTo>
                  <a:lnTo>
                    <a:pt x="674962" y="1383801"/>
                  </a:lnTo>
                  <a:lnTo>
                    <a:pt x="674962" y="1274625"/>
                  </a:lnTo>
                  <a:close/>
                  <a:moveTo>
                    <a:pt x="2250549" y="1061900"/>
                  </a:moveTo>
                  <a:lnTo>
                    <a:pt x="2250549" y="1169493"/>
                  </a:lnTo>
                  <a:lnTo>
                    <a:pt x="2398463" y="1169493"/>
                  </a:lnTo>
                  <a:lnTo>
                    <a:pt x="2398463" y="1061900"/>
                  </a:lnTo>
                  <a:close/>
                  <a:moveTo>
                    <a:pt x="1977915" y="1061900"/>
                  </a:moveTo>
                  <a:lnTo>
                    <a:pt x="1977915" y="1169493"/>
                  </a:lnTo>
                  <a:lnTo>
                    <a:pt x="2125828" y="1169493"/>
                  </a:lnTo>
                  <a:lnTo>
                    <a:pt x="2125828" y="1061900"/>
                  </a:lnTo>
                  <a:close/>
                  <a:moveTo>
                    <a:pt x="1705279" y="1061900"/>
                  </a:moveTo>
                  <a:lnTo>
                    <a:pt x="1705279" y="1169493"/>
                  </a:lnTo>
                  <a:lnTo>
                    <a:pt x="1853193" y="1169493"/>
                  </a:lnTo>
                  <a:lnTo>
                    <a:pt x="1853193" y="1061900"/>
                  </a:lnTo>
                  <a:close/>
                  <a:moveTo>
                    <a:pt x="1434238" y="1061900"/>
                  </a:moveTo>
                  <a:lnTo>
                    <a:pt x="1434238" y="1169493"/>
                  </a:lnTo>
                  <a:lnTo>
                    <a:pt x="1582151" y="1169493"/>
                  </a:lnTo>
                  <a:lnTo>
                    <a:pt x="1582151" y="1061900"/>
                  </a:lnTo>
                  <a:close/>
                  <a:moveTo>
                    <a:pt x="1161604" y="1061900"/>
                  </a:moveTo>
                  <a:lnTo>
                    <a:pt x="1161604" y="1169493"/>
                  </a:lnTo>
                  <a:lnTo>
                    <a:pt x="1309516" y="1169493"/>
                  </a:lnTo>
                  <a:lnTo>
                    <a:pt x="1309516" y="1061900"/>
                  </a:lnTo>
                  <a:close/>
                  <a:moveTo>
                    <a:pt x="888968" y="1061900"/>
                  </a:moveTo>
                  <a:lnTo>
                    <a:pt x="888968" y="1169493"/>
                  </a:lnTo>
                  <a:lnTo>
                    <a:pt x="1036882" y="1169493"/>
                  </a:lnTo>
                  <a:lnTo>
                    <a:pt x="1036882" y="1061900"/>
                  </a:lnTo>
                  <a:close/>
                  <a:moveTo>
                    <a:pt x="630682" y="1061900"/>
                  </a:moveTo>
                  <a:lnTo>
                    <a:pt x="630682" y="1169493"/>
                  </a:lnTo>
                  <a:lnTo>
                    <a:pt x="778596" y="1169493"/>
                  </a:lnTo>
                  <a:lnTo>
                    <a:pt x="778596" y="1061900"/>
                  </a:lnTo>
                  <a:close/>
                  <a:moveTo>
                    <a:pt x="2593337" y="671375"/>
                  </a:moveTo>
                  <a:lnTo>
                    <a:pt x="2593337" y="780551"/>
                  </a:lnTo>
                  <a:lnTo>
                    <a:pt x="2741249" y="780551"/>
                  </a:lnTo>
                  <a:lnTo>
                    <a:pt x="2741249" y="671375"/>
                  </a:lnTo>
                  <a:close/>
                  <a:moveTo>
                    <a:pt x="2320701" y="671375"/>
                  </a:moveTo>
                  <a:lnTo>
                    <a:pt x="2320701" y="780551"/>
                  </a:lnTo>
                  <a:lnTo>
                    <a:pt x="2468614" y="780551"/>
                  </a:lnTo>
                  <a:lnTo>
                    <a:pt x="2468614" y="671375"/>
                  </a:lnTo>
                  <a:close/>
                  <a:moveTo>
                    <a:pt x="2048066" y="671375"/>
                  </a:moveTo>
                  <a:lnTo>
                    <a:pt x="2048066" y="780551"/>
                  </a:lnTo>
                  <a:lnTo>
                    <a:pt x="2195979" y="780551"/>
                  </a:lnTo>
                  <a:lnTo>
                    <a:pt x="2195979" y="671375"/>
                  </a:lnTo>
                  <a:close/>
                  <a:moveTo>
                    <a:pt x="1777026" y="671375"/>
                  </a:moveTo>
                  <a:lnTo>
                    <a:pt x="1777026" y="780551"/>
                  </a:lnTo>
                  <a:lnTo>
                    <a:pt x="1924939" y="780551"/>
                  </a:lnTo>
                  <a:lnTo>
                    <a:pt x="1924939" y="671375"/>
                  </a:lnTo>
                  <a:close/>
                  <a:moveTo>
                    <a:pt x="1504390" y="671375"/>
                  </a:moveTo>
                  <a:lnTo>
                    <a:pt x="1504390" y="780551"/>
                  </a:lnTo>
                  <a:lnTo>
                    <a:pt x="1652304" y="780551"/>
                  </a:lnTo>
                  <a:lnTo>
                    <a:pt x="1652304" y="671375"/>
                  </a:lnTo>
                  <a:close/>
                  <a:moveTo>
                    <a:pt x="1246104" y="671375"/>
                  </a:moveTo>
                  <a:lnTo>
                    <a:pt x="1246104" y="780551"/>
                  </a:lnTo>
                  <a:lnTo>
                    <a:pt x="1394019" y="780551"/>
                  </a:lnTo>
                  <a:lnTo>
                    <a:pt x="1394019" y="671375"/>
                  </a:lnTo>
                  <a:close/>
                  <a:moveTo>
                    <a:pt x="975063" y="671375"/>
                  </a:moveTo>
                  <a:lnTo>
                    <a:pt x="975063" y="780551"/>
                  </a:lnTo>
                  <a:lnTo>
                    <a:pt x="1122977" y="780551"/>
                  </a:lnTo>
                  <a:lnTo>
                    <a:pt x="1122977" y="671375"/>
                  </a:lnTo>
                  <a:close/>
                  <a:moveTo>
                    <a:pt x="869898" y="509450"/>
                  </a:moveTo>
                  <a:lnTo>
                    <a:pt x="2787701" y="509450"/>
                  </a:lnTo>
                  <a:lnTo>
                    <a:pt x="2940031" y="898387"/>
                  </a:lnTo>
                  <a:lnTo>
                    <a:pt x="717739" y="898387"/>
                  </a:lnTo>
                  <a:lnTo>
                    <a:pt x="702066" y="938075"/>
                  </a:lnTo>
                  <a:lnTo>
                    <a:pt x="2955575" y="938075"/>
                  </a:lnTo>
                  <a:lnTo>
                    <a:pt x="2966417" y="938075"/>
                  </a:lnTo>
                  <a:lnTo>
                    <a:pt x="3122728" y="938075"/>
                  </a:lnTo>
                  <a:lnTo>
                    <a:pt x="3169126" y="1061900"/>
                  </a:lnTo>
                  <a:lnTo>
                    <a:pt x="2531840" y="1061900"/>
                  </a:lnTo>
                  <a:lnTo>
                    <a:pt x="2515213" y="1171076"/>
                  </a:lnTo>
                  <a:lnTo>
                    <a:pt x="3210303" y="1171076"/>
                  </a:lnTo>
                  <a:lnTo>
                    <a:pt x="3245108" y="1265877"/>
                  </a:lnTo>
                  <a:lnTo>
                    <a:pt x="3245414" y="1266687"/>
                  </a:lnTo>
                  <a:lnTo>
                    <a:pt x="2455538" y="1266687"/>
                  </a:lnTo>
                  <a:lnTo>
                    <a:pt x="2445061" y="1375864"/>
                  </a:lnTo>
                  <a:lnTo>
                    <a:pt x="3286588" y="1375864"/>
                  </a:lnTo>
                  <a:lnTo>
                    <a:pt x="3326352" y="1482587"/>
                  </a:lnTo>
                  <a:lnTo>
                    <a:pt x="2519152" y="1482587"/>
                  </a:lnTo>
                  <a:lnTo>
                    <a:pt x="2292724" y="1622516"/>
                  </a:lnTo>
                  <a:lnTo>
                    <a:pt x="867916" y="1622516"/>
                  </a:lnTo>
                  <a:lnTo>
                    <a:pt x="641488" y="1482587"/>
                  </a:lnTo>
                  <a:lnTo>
                    <a:pt x="310392" y="1482587"/>
                  </a:lnTo>
                  <a:lnTo>
                    <a:pt x="513515" y="938075"/>
                  </a:lnTo>
                  <a:lnTo>
                    <a:pt x="701768" y="938075"/>
                  </a:lnTo>
                  <a:close/>
                  <a:moveTo>
                    <a:pt x="1699365" y="330925"/>
                  </a:moveTo>
                  <a:lnTo>
                    <a:pt x="2667850" y="330925"/>
                  </a:lnTo>
                  <a:lnTo>
                    <a:pt x="2701597" y="483325"/>
                  </a:lnTo>
                  <a:lnTo>
                    <a:pt x="1665516" y="483325"/>
                  </a:lnTo>
                  <a:close/>
                  <a:moveTo>
                    <a:pt x="969962" y="166589"/>
                  </a:moveTo>
                  <a:lnTo>
                    <a:pt x="1341077" y="166589"/>
                  </a:lnTo>
                  <a:lnTo>
                    <a:pt x="1341077" y="478100"/>
                  </a:lnTo>
                  <a:lnTo>
                    <a:pt x="969962" y="478100"/>
                  </a:lnTo>
                  <a:close/>
                  <a:moveTo>
                    <a:pt x="923925" y="0"/>
                  </a:moveTo>
                  <a:lnTo>
                    <a:pt x="1388702" y="0"/>
                  </a:lnTo>
                  <a:lnTo>
                    <a:pt x="1388702" y="145688"/>
                  </a:lnTo>
                  <a:lnTo>
                    <a:pt x="923925" y="145688"/>
                  </a:lnTo>
                  <a:close/>
                </a:path>
              </a:pathLst>
            </a:custGeom>
            <a:noFill/>
            <a:ln w="76200">
              <a:solidFill>
                <a:schemeClr val="bg1"/>
              </a:solidFill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900"/>
            </a:p>
          </p:txBody>
        </p:sp>
        <p:sp>
          <p:nvSpPr>
            <p:cNvPr id="51" name="Freeform 56">
              <a:extLst>
                <a:ext uri="{FF2B5EF4-FFF2-40B4-BE49-F238E27FC236}">
                  <a16:creationId xmlns:a16="http://schemas.microsoft.com/office/drawing/2014/main" id="{8C50CCDA-71AC-D9B3-1DC7-E3B1CE90E4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57038" y="2117558"/>
              <a:ext cx="1418124" cy="995339"/>
            </a:xfrm>
            <a:custGeom>
              <a:avLst/>
              <a:gdLst>
                <a:gd name="connsiteX0" fmla="*/ 1428316 w 3798527"/>
                <a:gd name="connsiteY0" fmla="*/ 2077472 h 2666074"/>
                <a:gd name="connsiteX1" fmla="*/ 1306512 w 3798527"/>
                <a:gd name="connsiteY1" fmla="*/ 2199529 h 2666074"/>
                <a:gd name="connsiteX2" fmla="*/ 1428316 w 3798527"/>
                <a:gd name="connsiteY2" fmla="*/ 2321586 h 2666074"/>
                <a:gd name="connsiteX3" fmla="*/ 1549041 w 3798527"/>
                <a:gd name="connsiteY3" fmla="*/ 2199529 h 2666074"/>
                <a:gd name="connsiteX4" fmla="*/ 1428316 w 3798527"/>
                <a:gd name="connsiteY4" fmla="*/ 2077472 h 2666074"/>
                <a:gd name="connsiteX5" fmla="*/ 943409 w 3798527"/>
                <a:gd name="connsiteY5" fmla="*/ 2077472 h 2666074"/>
                <a:gd name="connsiteX6" fmla="*/ 822325 w 3798527"/>
                <a:gd name="connsiteY6" fmla="*/ 2199529 h 2666074"/>
                <a:gd name="connsiteX7" fmla="*/ 943409 w 3798527"/>
                <a:gd name="connsiteY7" fmla="*/ 2321586 h 2666074"/>
                <a:gd name="connsiteX8" fmla="*/ 1064852 w 3798527"/>
                <a:gd name="connsiteY8" fmla="*/ 2199529 h 2666074"/>
                <a:gd name="connsiteX9" fmla="*/ 943409 w 3798527"/>
                <a:gd name="connsiteY9" fmla="*/ 2077472 h 2666074"/>
                <a:gd name="connsiteX10" fmla="*/ 460194 w 3798527"/>
                <a:gd name="connsiteY10" fmla="*/ 2077472 h 2666074"/>
                <a:gd name="connsiteX11" fmla="*/ 338137 w 3798527"/>
                <a:gd name="connsiteY11" fmla="*/ 2199529 h 2666074"/>
                <a:gd name="connsiteX12" fmla="*/ 460194 w 3798527"/>
                <a:gd name="connsiteY12" fmla="*/ 2321586 h 2666074"/>
                <a:gd name="connsiteX13" fmla="*/ 582251 w 3798527"/>
                <a:gd name="connsiteY13" fmla="*/ 2199529 h 2666074"/>
                <a:gd name="connsiteX14" fmla="*/ 460194 w 3798527"/>
                <a:gd name="connsiteY14" fmla="*/ 2077472 h 2666074"/>
                <a:gd name="connsiteX15" fmla="*/ 3291861 w 3798527"/>
                <a:gd name="connsiteY15" fmla="*/ 1857649 h 2666074"/>
                <a:gd name="connsiteX16" fmla="*/ 3343669 w 3798527"/>
                <a:gd name="connsiteY16" fmla="*/ 1866278 h 2666074"/>
                <a:gd name="connsiteX17" fmla="*/ 3345828 w 3798527"/>
                <a:gd name="connsiteY17" fmla="*/ 1867357 h 2666074"/>
                <a:gd name="connsiteX18" fmla="*/ 3411667 w 3798527"/>
                <a:gd name="connsiteY18" fmla="*/ 1913377 h 2666074"/>
                <a:gd name="connsiteX19" fmla="*/ 3413106 w 3798527"/>
                <a:gd name="connsiteY19" fmla="*/ 1915534 h 2666074"/>
                <a:gd name="connsiteX20" fmla="*/ 3448724 w 3798527"/>
                <a:gd name="connsiteY20" fmla="*/ 2014406 h 2666074"/>
                <a:gd name="connsiteX21" fmla="*/ 3448724 w 3798527"/>
                <a:gd name="connsiteY21" fmla="*/ 2018721 h 2666074"/>
                <a:gd name="connsiteX22" fmla="*/ 3448724 w 3798527"/>
                <a:gd name="connsiteY22" fmla="*/ 2020159 h 2666074"/>
                <a:gd name="connsiteX23" fmla="*/ 3417423 w 3798527"/>
                <a:gd name="connsiteY23" fmla="*/ 2108245 h 2666074"/>
                <a:gd name="connsiteX24" fmla="*/ 3416344 w 3798527"/>
                <a:gd name="connsiteY24" fmla="*/ 2108964 h 2666074"/>
                <a:gd name="connsiteX25" fmla="*/ 3415803 w 3798527"/>
                <a:gd name="connsiteY25" fmla="*/ 2109465 h 2666074"/>
                <a:gd name="connsiteX26" fmla="*/ 3495675 w 3798527"/>
                <a:gd name="connsiteY26" fmla="*/ 2186341 h 2666074"/>
                <a:gd name="connsiteX27" fmla="*/ 3387163 w 3798527"/>
                <a:gd name="connsiteY27" fmla="*/ 2263819 h 2666074"/>
                <a:gd name="connsiteX28" fmla="*/ 3373509 w 3798527"/>
                <a:gd name="connsiteY28" fmla="*/ 2268841 h 2666074"/>
                <a:gd name="connsiteX29" fmla="*/ 3370994 w 3798527"/>
                <a:gd name="connsiteY29" fmla="*/ 2269200 h 2666074"/>
                <a:gd name="connsiteX30" fmla="*/ 3321409 w 3798527"/>
                <a:gd name="connsiteY30" fmla="*/ 2168406 h 2666074"/>
                <a:gd name="connsiteX31" fmla="*/ 3321539 w 3798527"/>
                <a:gd name="connsiteY31" fmla="*/ 2168355 h 2666074"/>
                <a:gd name="connsiteX32" fmla="*/ 3319204 w 3798527"/>
                <a:gd name="connsiteY32" fmla="*/ 2168646 h 2666074"/>
                <a:gd name="connsiteX33" fmla="*/ 3291861 w 3798527"/>
                <a:gd name="connsiteY33" fmla="*/ 2171163 h 2666074"/>
                <a:gd name="connsiteX34" fmla="*/ 3228900 w 3798527"/>
                <a:gd name="connsiteY34" fmla="*/ 2158220 h 2666074"/>
                <a:gd name="connsiteX35" fmla="*/ 3228540 w 3798527"/>
                <a:gd name="connsiteY35" fmla="*/ 2157860 h 2666074"/>
                <a:gd name="connsiteX36" fmla="*/ 3150829 w 3798527"/>
                <a:gd name="connsiteY36" fmla="*/ 2082718 h 2666074"/>
                <a:gd name="connsiteX37" fmla="*/ 3148670 w 3798527"/>
                <a:gd name="connsiteY37" fmla="*/ 2079482 h 2666074"/>
                <a:gd name="connsiteX38" fmla="*/ 3134998 w 3798527"/>
                <a:gd name="connsiteY38" fmla="*/ 2014406 h 2666074"/>
                <a:gd name="connsiteX39" fmla="*/ 3135358 w 3798527"/>
                <a:gd name="connsiteY39" fmla="*/ 2003980 h 2666074"/>
                <a:gd name="connsiteX40" fmla="*/ 3135358 w 3798527"/>
                <a:gd name="connsiteY40" fmla="*/ 2002901 h 2666074"/>
                <a:gd name="connsiteX41" fmla="*/ 3176373 w 3798527"/>
                <a:gd name="connsiteY41" fmla="*/ 1907984 h 2666074"/>
                <a:gd name="connsiteX42" fmla="*/ 3178531 w 3798527"/>
                <a:gd name="connsiteY42" fmla="*/ 1905827 h 2666074"/>
                <a:gd name="connsiteX43" fmla="*/ 3237535 w 3798527"/>
                <a:gd name="connsiteY43" fmla="*/ 1867357 h 2666074"/>
                <a:gd name="connsiteX44" fmla="*/ 3239694 w 3798527"/>
                <a:gd name="connsiteY44" fmla="*/ 1866278 h 2666074"/>
                <a:gd name="connsiteX45" fmla="*/ 3291861 w 3798527"/>
                <a:gd name="connsiteY45" fmla="*/ 1857649 h 2666074"/>
                <a:gd name="connsiteX46" fmla="*/ 2629874 w 3798527"/>
                <a:gd name="connsiteY46" fmla="*/ 1857649 h 2666074"/>
                <a:gd name="connsiteX47" fmla="*/ 2681681 w 3798527"/>
                <a:gd name="connsiteY47" fmla="*/ 1866278 h 2666074"/>
                <a:gd name="connsiteX48" fmla="*/ 2683840 w 3798527"/>
                <a:gd name="connsiteY48" fmla="*/ 1867357 h 2666074"/>
                <a:gd name="connsiteX49" fmla="*/ 2749679 w 3798527"/>
                <a:gd name="connsiteY49" fmla="*/ 1913377 h 2666074"/>
                <a:gd name="connsiteX50" fmla="*/ 2751010 w 3798527"/>
                <a:gd name="connsiteY50" fmla="*/ 1915372 h 2666074"/>
                <a:gd name="connsiteX51" fmla="*/ 2849705 w 3798527"/>
                <a:gd name="connsiteY51" fmla="*/ 1863158 h 2666074"/>
                <a:gd name="connsiteX52" fmla="*/ 2850784 w 3798527"/>
                <a:gd name="connsiteY52" fmla="*/ 1864950 h 2666074"/>
                <a:gd name="connsiteX53" fmla="*/ 2869850 w 3798527"/>
                <a:gd name="connsiteY53" fmla="*/ 1896854 h 2666074"/>
                <a:gd name="connsiteX54" fmla="*/ 2892872 w 3798527"/>
                <a:gd name="connsiteY54" fmla="*/ 1968189 h 2666074"/>
                <a:gd name="connsiteX55" fmla="*/ 2896470 w 3798527"/>
                <a:gd name="connsiteY55" fmla="*/ 2000809 h 2666074"/>
                <a:gd name="connsiteX56" fmla="*/ 2896470 w 3798527"/>
                <a:gd name="connsiteY56" fmla="*/ 2002243 h 2666074"/>
                <a:gd name="connsiteX57" fmla="*/ 2786736 w 3798527"/>
                <a:gd name="connsiteY57" fmla="*/ 2018324 h 2666074"/>
                <a:gd name="connsiteX58" fmla="*/ 2786736 w 3798527"/>
                <a:gd name="connsiteY58" fmla="*/ 2018721 h 2666074"/>
                <a:gd name="connsiteX59" fmla="*/ 2786736 w 3798527"/>
                <a:gd name="connsiteY59" fmla="*/ 2020159 h 2666074"/>
                <a:gd name="connsiteX60" fmla="*/ 2755435 w 3798527"/>
                <a:gd name="connsiteY60" fmla="*/ 2108245 h 2666074"/>
                <a:gd name="connsiteX61" fmla="*/ 2754356 w 3798527"/>
                <a:gd name="connsiteY61" fmla="*/ 2108964 h 2666074"/>
                <a:gd name="connsiteX62" fmla="*/ 2753533 w 3798527"/>
                <a:gd name="connsiteY62" fmla="*/ 2109726 h 2666074"/>
                <a:gd name="connsiteX63" fmla="*/ 2832971 w 3798527"/>
                <a:gd name="connsiteY63" fmla="*/ 2186341 h 2666074"/>
                <a:gd name="connsiteX64" fmla="*/ 2724682 w 3798527"/>
                <a:gd name="connsiteY64" fmla="*/ 2263819 h 2666074"/>
                <a:gd name="connsiteX65" fmla="*/ 2711056 w 3798527"/>
                <a:gd name="connsiteY65" fmla="*/ 2268841 h 2666074"/>
                <a:gd name="connsiteX66" fmla="*/ 2708187 w 3798527"/>
                <a:gd name="connsiteY66" fmla="*/ 2269200 h 2666074"/>
                <a:gd name="connsiteX67" fmla="*/ 2658709 w 3798527"/>
                <a:gd name="connsiteY67" fmla="*/ 2168415 h 2666074"/>
                <a:gd name="connsiteX68" fmla="*/ 2656857 w 3798527"/>
                <a:gd name="connsiteY68" fmla="*/ 2168646 h 2666074"/>
                <a:gd name="connsiteX69" fmla="*/ 2629874 w 3798527"/>
                <a:gd name="connsiteY69" fmla="*/ 2171163 h 2666074"/>
                <a:gd name="connsiteX70" fmla="*/ 2567273 w 3798527"/>
                <a:gd name="connsiteY70" fmla="*/ 2158220 h 2666074"/>
                <a:gd name="connsiteX71" fmla="*/ 2566193 w 3798527"/>
                <a:gd name="connsiteY71" fmla="*/ 2157860 h 2666074"/>
                <a:gd name="connsiteX72" fmla="*/ 2488482 w 3798527"/>
                <a:gd name="connsiteY72" fmla="*/ 2082718 h 2666074"/>
                <a:gd name="connsiteX73" fmla="*/ 2487043 w 3798527"/>
                <a:gd name="connsiteY73" fmla="*/ 2079482 h 2666074"/>
                <a:gd name="connsiteX74" fmla="*/ 2472651 w 3798527"/>
                <a:gd name="connsiteY74" fmla="*/ 2014406 h 2666074"/>
                <a:gd name="connsiteX75" fmla="*/ 2473371 w 3798527"/>
                <a:gd name="connsiteY75" fmla="*/ 2003980 h 2666074"/>
                <a:gd name="connsiteX76" fmla="*/ 2473371 w 3798527"/>
                <a:gd name="connsiteY76" fmla="*/ 2002901 h 2666074"/>
                <a:gd name="connsiteX77" fmla="*/ 2514386 w 3798527"/>
                <a:gd name="connsiteY77" fmla="*/ 1907984 h 2666074"/>
                <a:gd name="connsiteX78" fmla="*/ 2516544 w 3798527"/>
                <a:gd name="connsiteY78" fmla="*/ 1905827 h 2666074"/>
                <a:gd name="connsiteX79" fmla="*/ 2575907 w 3798527"/>
                <a:gd name="connsiteY79" fmla="*/ 1867357 h 2666074"/>
                <a:gd name="connsiteX80" fmla="*/ 2577706 w 3798527"/>
                <a:gd name="connsiteY80" fmla="*/ 1866278 h 2666074"/>
                <a:gd name="connsiteX81" fmla="*/ 2629874 w 3798527"/>
                <a:gd name="connsiteY81" fmla="*/ 1857649 h 2666074"/>
                <a:gd name="connsiteX82" fmla="*/ 3291861 w 3798527"/>
                <a:gd name="connsiteY82" fmla="*/ 1747272 h 2666074"/>
                <a:gd name="connsiteX83" fmla="*/ 3291468 w 3798527"/>
                <a:gd name="connsiteY83" fmla="*/ 1747323 h 2666074"/>
                <a:gd name="connsiteX84" fmla="*/ 3360525 w 3798527"/>
                <a:gd name="connsiteY84" fmla="*/ 1756236 h 2666074"/>
                <a:gd name="connsiteX85" fmla="*/ 3362324 w 3798527"/>
                <a:gd name="connsiteY85" fmla="*/ 1756595 h 2666074"/>
                <a:gd name="connsiteX86" fmla="*/ 3342890 w 3798527"/>
                <a:gd name="connsiteY86" fmla="*/ 1865975 h 2666074"/>
                <a:gd name="connsiteX87" fmla="*/ 3291067 w 3798527"/>
                <a:gd name="connsiteY87" fmla="*/ 1857368 h 2666074"/>
                <a:gd name="connsiteX88" fmla="*/ 3238883 w 3798527"/>
                <a:gd name="connsiteY88" fmla="*/ 1865975 h 2666074"/>
                <a:gd name="connsiteX89" fmla="*/ 3219875 w 3798527"/>
                <a:gd name="connsiteY89" fmla="*/ 1756971 h 2666074"/>
                <a:gd name="connsiteX90" fmla="*/ 3140035 w 3798527"/>
                <a:gd name="connsiteY90" fmla="*/ 1794282 h 2666074"/>
                <a:gd name="connsiteX91" fmla="*/ 3076715 w 3798527"/>
                <a:gd name="connsiteY91" fmla="*/ 1855133 h 2666074"/>
                <a:gd name="connsiteX92" fmla="*/ 3076457 w 3798527"/>
                <a:gd name="connsiteY92" fmla="*/ 1855584 h 2666074"/>
                <a:gd name="connsiteX93" fmla="*/ 3175001 w 3798527"/>
                <a:gd name="connsiteY93" fmla="*/ 1907898 h 2666074"/>
                <a:gd name="connsiteX94" fmla="*/ 3134163 w 3798527"/>
                <a:gd name="connsiteY94" fmla="*/ 2002500 h 2666074"/>
                <a:gd name="connsiteX95" fmla="*/ 3025267 w 3798527"/>
                <a:gd name="connsiteY95" fmla="*/ 1987193 h 2666074"/>
                <a:gd name="connsiteX96" fmla="*/ 3025267 w 3798527"/>
                <a:gd name="connsiteY96" fmla="*/ 1987441 h 2666074"/>
                <a:gd name="connsiteX97" fmla="*/ 3024187 w 3798527"/>
                <a:gd name="connsiteY97" fmla="*/ 2014406 h 2666074"/>
                <a:gd name="connsiteX98" fmla="*/ 3035790 w 3798527"/>
                <a:gd name="connsiteY98" fmla="*/ 2092695 h 2666074"/>
                <a:gd name="connsiteX99" fmla="*/ 3067892 w 3798527"/>
                <a:gd name="connsiteY99" fmla="*/ 2160656 h 2666074"/>
                <a:gd name="connsiteX100" fmla="*/ 3149735 w 3798527"/>
                <a:gd name="connsiteY100" fmla="*/ 2082233 h 2666074"/>
                <a:gd name="connsiteX101" fmla="*/ 3227387 w 3798527"/>
                <a:gd name="connsiteY101" fmla="*/ 2157175 h 2666074"/>
                <a:gd name="connsiteX102" fmla="*/ 3178495 w 3798527"/>
                <a:gd name="connsiteY102" fmla="*/ 2256500 h 2666074"/>
                <a:gd name="connsiteX103" fmla="*/ 3178135 w 3798527"/>
                <a:gd name="connsiteY103" fmla="*/ 2256141 h 2666074"/>
                <a:gd name="connsiteX104" fmla="*/ 3118242 w 3798527"/>
                <a:gd name="connsiteY104" fmla="*/ 2217791 h 2666074"/>
                <a:gd name="connsiteX105" fmla="*/ 3118584 w 3798527"/>
                <a:gd name="connsiteY105" fmla="*/ 2218172 h 2666074"/>
                <a:gd name="connsiteX106" fmla="*/ 3179251 w 3798527"/>
                <a:gd name="connsiteY106" fmla="*/ 2257092 h 2666074"/>
                <a:gd name="connsiteX107" fmla="*/ 3179611 w 3798527"/>
                <a:gd name="connsiteY107" fmla="*/ 2257451 h 2666074"/>
                <a:gd name="connsiteX108" fmla="*/ 3291861 w 3798527"/>
                <a:gd name="connsiteY108" fmla="*/ 2281900 h 2666074"/>
                <a:gd name="connsiteX109" fmla="*/ 3371732 w 3798527"/>
                <a:gd name="connsiteY109" fmla="*/ 2269316 h 2666074"/>
                <a:gd name="connsiteX110" fmla="*/ 3374250 w 3798527"/>
                <a:gd name="connsiteY110" fmla="*/ 2268956 h 2666074"/>
                <a:gd name="connsiteX111" fmla="*/ 3387922 w 3798527"/>
                <a:gd name="connsiteY111" fmla="*/ 2263923 h 2666074"/>
                <a:gd name="connsiteX112" fmla="*/ 3496574 w 3798527"/>
                <a:gd name="connsiteY112" fmla="*/ 2186264 h 2666074"/>
                <a:gd name="connsiteX113" fmla="*/ 3510965 w 3798527"/>
                <a:gd name="connsiteY113" fmla="*/ 2167208 h 2666074"/>
                <a:gd name="connsiteX114" fmla="*/ 3558815 w 3798527"/>
                <a:gd name="connsiteY114" fmla="*/ 2014406 h 2666074"/>
                <a:gd name="connsiteX115" fmla="*/ 3558815 w 3798527"/>
                <a:gd name="connsiteY115" fmla="*/ 2002542 h 2666074"/>
                <a:gd name="connsiteX116" fmla="*/ 3558815 w 3798527"/>
                <a:gd name="connsiteY116" fmla="*/ 2002297 h 2666074"/>
                <a:gd name="connsiteX117" fmla="*/ 3449097 w 3798527"/>
                <a:gd name="connsiteY117" fmla="*/ 2018375 h 2666074"/>
                <a:gd name="connsiteX118" fmla="*/ 3449097 w 3798527"/>
                <a:gd name="connsiteY118" fmla="*/ 2014073 h 2666074"/>
                <a:gd name="connsiteX119" fmla="*/ 3413484 w 3798527"/>
                <a:gd name="connsiteY119" fmla="*/ 1915495 h 2666074"/>
                <a:gd name="connsiteX120" fmla="*/ 3512185 w 3798527"/>
                <a:gd name="connsiteY120" fmla="*/ 1863277 h 2666074"/>
                <a:gd name="connsiteX121" fmla="*/ 3512044 w 3798527"/>
                <a:gd name="connsiteY121" fmla="*/ 1863042 h 2666074"/>
                <a:gd name="connsiteX122" fmla="*/ 3363097 w 3798527"/>
                <a:gd name="connsiteY122" fmla="*/ 1756620 h 2666074"/>
                <a:gd name="connsiteX123" fmla="*/ 3361298 w 3798527"/>
                <a:gd name="connsiteY123" fmla="*/ 1756261 h 2666074"/>
                <a:gd name="connsiteX124" fmla="*/ 3291861 w 3798527"/>
                <a:gd name="connsiteY124" fmla="*/ 1747272 h 2666074"/>
                <a:gd name="connsiteX125" fmla="*/ 2629874 w 3798527"/>
                <a:gd name="connsiteY125" fmla="*/ 1747272 h 2666074"/>
                <a:gd name="connsiteX126" fmla="*/ 2629210 w 3798527"/>
                <a:gd name="connsiteY126" fmla="*/ 1747358 h 2666074"/>
                <a:gd name="connsiteX127" fmla="*/ 2697825 w 3798527"/>
                <a:gd name="connsiteY127" fmla="*/ 1756236 h 2666074"/>
                <a:gd name="connsiteX128" fmla="*/ 2699620 w 3798527"/>
                <a:gd name="connsiteY128" fmla="*/ 1756595 h 2666074"/>
                <a:gd name="connsiteX129" fmla="*/ 2680235 w 3798527"/>
                <a:gd name="connsiteY129" fmla="*/ 1865974 h 2666074"/>
                <a:gd name="connsiteX130" fmla="*/ 2628542 w 3798527"/>
                <a:gd name="connsiteY130" fmla="*/ 1857367 h 2666074"/>
                <a:gd name="connsiteX131" fmla="*/ 2576489 w 3798527"/>
                <a:gd name="connsiteY131" fmla="*/ 1865974 h 2666074"/>
                <a:gd name="connsiteX132" fmla="*/ 2557198 w 3798527"/>
                <a:gd name="connsiteY132" fmla="*/ 1757125 h 2666074"/>
                <a:gd name="connsiteX133" fmla="*/ 2477688 w 3798527"/>
                <a:gd name="connsiteY133" fmla="*/ 1794282 h 2666074"/>
                <a:gd name="connsiteX134" fmla="*/ 2414368 w 3798527"/>
                <a:gd name="connsiteY134" fmla="*/ 1855133 h 2666074"/>
                <a:gd name="connsiteX135" fmla="*/ 2414030 w 3798527"/>
                <a:gd name="connsiteY135" fmla="*/ 1855920 h 2666074"/>
                <a:gd name="connsiteX136" fmla="*/ 2512296 w 3798527"/>
                <a:gd name="connsiteY136" fmla="*/ 1907897 h 2666074"/>
                <a:gd name="connsiteX137" fmla="*/ 2471458 w 3798527"/>
                <a:gd name="connsiteY137" fmla="*/ 2002499 h 2666074"/>
                <a:gd name="connsiteX138" fmla="*/ 2363280 w 3798527"/>
                <a:gd name="connsiteY138" fmla="*/ 1987293 h 2666074"/>
                <a:gd name="connsiteX139" fmla="*/ 2363280 w 3798527"/>
                <a:gd name="connsiteY139" fmla="*/ 1987441 h 2666074"/>
                <a:gd name="connsiteX140" fmla="*/ 2362200 w 3798527"/>
                <a:gd name="connsiteY140" fmla="*/ 2014406 h 2666074"/>
                <a:gd name="connsiteX141" fmla="*/ 2373803 w 3798527"/>
                <a:gd name="connsiteY141" fmla="*/ 2092695 h 2666074"/>
                <a:gd name="connsiteX142" fmla="*/ 2405681 w 3798527"/>
                <a:gd name="connsiteY142" fmla="*/ 2160181 h 2666074"/>
                <a:gd name="connsiteX143" fmla="*/ 2486854 w 3798527"/>
                <a:gd name="connsiteY143" fmla="*/ 2082233 h 2666074"/>
                <a:gd name="connsiteX144" fmla="*/ 2564681 w 3798527"/>
                <a:gd name="connsiteY144" fmla="*/ 2157175 h 2666074"/>
                <a:gd name="connsiteX145" fmla="*/ 2516112 w 3798527"/>
                <a:gd name="connsiteY145" fmla="*/ 2256353 h 2666074"/>
                <a:gd name="connsiteX146" fmla="*/ 2517264 w 3798527"/>
                <a:gd name="connsiteY146" fmla="*/ 2257092 h 2666074"/>
                <a:gd name="connsiteX147" fmla="*/ 2517623 w 3798527"/>
                <a:gd name="connsiteY147" fmla="*/ 2257451 h 2666074"/>
                <a:gd name="connsiteX148" fmla="*/ 2629874 w 3798527"/>
                <a:gd name="connsiteY148" fmla="*/ 2281900 h 2666074"/>
                <a:gd name="connsiteX149" fmla="*/ 2709384 w 3798527"/>
                <a:gd name="connsiteY149" fmla="*/ 2269316 h 2666074"/>
                <a:gd name="connsiteX150" fmla="*/ 2712262 w 3798527"/>
                <a:gd name="connsiteY150" fmla="*/ 2268956 h 2666074"/>
                <a:gd name="connsiteX151" fmla="*/ 2725934 w 3798527"/>
                <a:gd name="connsiteY151" fmla="*/ 2263923 h 2666074"/>
                <a:gd name="connsiteX152" fmla="*/ 2834586 w 3798527"/>
                <a:gd name="connsiteY152" fmla="*/ 2186264 h 2666074"/>
                <a:gd name="connsiteX153" fmla="*/ 2848977 w 3798527"/>
                <a:gd name="connsiteY153" fmla="*/ 2167208 h 2666074"/>
                <a:gd name="connsiteX154" fmla="*/ 2896827 w 3798527"/>
                <a:gd name="connsiteY154" fmla="*/ 2014406 h 2666074"/>
                <a:gd name="connsiteX155" fmla="*/ 2896827 w 3798527"/>
                <a:gd name="connsiteY155" fmla="*/ 2002542 h 2666074"/>
                <a:gd name="connsiteX156" fmla="*/ 2896827 w 3798527"/>
                <a:gd name="connsiteY156" fmla="*/ 2001103 h 2666074"/>
                <a:gd name="connsiteX157" fmla="*/ 2893230 w 3798527"/>
                <a:gd name="connsiteY157" fmla="*/ 1968386 h 2666074"/>
                <a:gd name="connsiteX158" fmla="*/ 2870204 w 3798527"/>
                <a:gd name="connsiteY158" fmla="*/ 1896839 h 2666074"/>
                <a:gd name="connsiteX159" fmla="*/ 2851136 w 3798527"/>
                <a:gd name="connsiteY159" fmla="*/ 1864840 h 2666074"/>
                <a:gd name="connsiteX160" fmla="*/ 2850057 w 3798527"/>
                <a:gd name="connsiteY160" fmla="*/ 1863042 h 2666074"/>
                <a:gd name="connsiteX161" fmla="*/ 2701109 w 3798527"/>
                <a:gd name="connsiteY161" fmla="*/ 1756620 h 2666074"/>
                <a:gd name="connsiteX162" fmla="*/ 2699310 w 3798527"/>
                <a:gd name="connsiteY162" fmla="*/ 1756261 h 2666074"/>
                <a:gd name="connsiteX163" fmla="*/ 2629874 w 3798527"/>
                <a:gd name="connsiteY163" fmla="*/ 1747272 h 2666074"/>
                <a:gd name="connsiteX164" fmla="*/ 0 w 3798527"/>
                <a:gd name="connsiteY164" fmla="*/ 1526609 h 2666074"/>
                <a:gd name="connsiteX165" fmla="*/ 641488 w 3798527"/>
                <a:gd name="connsiteY165" fmla="*/ 1526609 h 2666074"/>
                <a:gd name="connsiteX166" fmla="*/ 867916 w 3798527"/>
                <a:gd name="connsiteY166" fmla="*/ 1666746 h 2666074"/>
                <a:gd name="connsiteX167" fmla="*/ 2292724 w 3798527"/>
                <a:gd name="connsiteY167" fmla="*/ 1666746 h 2666074"/>
                <a:gd name="connsiteX168" fmla="*/ 2519152 w 3798527"/>
                <a:gd name="connsiteY168" fmla="*/ 1526609 h 2666074"/>
                <a:gd name="connsiteX169" fmla="*/ 3798527 w 3798527"/>
                <a:gd name="connsiteY169" fmla="*/ 1526609 h 2666074"/>
                <a:gd name="connsiteX170" fmla="*/ 3687653 w 3798527"/>
                <a:gd name="connsiteY170" fmla="*/ 2319155 h 2666074"/>
                <a:gd name="connsiteX171" fmla="*/ 3375549 w 3798527"/>
                <a:gd name="connsiteY171" fmla="*/ 2666074 h 2666074"/>
                <a:gd name="connsiteX172" fmla="*/ 2314323 w 3798527"/>
                <a:gd name="connsiteY172" fmla="*/ 2666074 h 2666074"/>
                <a:gd name="connsiteX173" fmla="*/ 1484565 w 3798527"/>
                <a:gd name="connsiteY173" fmla="*/ 2666074 h 2666074"/>
                <a:gd name="connsiteX174" fmla="*/ 422979 w 3798527"/>
                <a:gd name="connsiteY174" fmla="*/ 2666074 h 2666074"/>
                <a:gd name="connsiteX175" fmla="*/ 111234 w 3798527"/>
                <a:gd name="connsiteY175" fmla="*/ 2319155 h 2666074"/>
                <a:gd name="connsiteX176" fmla="*/ 0 w 3798527"/>
                <a:gd name="connsiteY176" fmla="*/ 1526609 h 2666074"/>
                <a:gd name="connsiteX177" fmla="*/ 2145322 w 3798527"/>
                <a:gd name="connsiteY177" fmla="*/ 1274625 h 2666074"/>
                <a:gd name="connsiteX178" fmla="*/ 2145322 w 3798527"/>
                <a:gd name="connsiteY178" fmla="*/ 1383801 h 2666074"/>
                <a:gd name="connsiteX179" fmla="*/ 2293235 w 3798527"/>
                <a:gd name="connsiteY179" fmla="*/ 1383801 h 2666074"/>
                <a:gd name="connsiteX180" fmla="*/ 2293235 w 3798527"/>
                <a:gd name="connsiteY180" fmla="*/ 1274625 h 2666074"/>
                <a:gd name="connsiteX181" fmla="*/ 1874281 w 3798527"/>
                <a:gd name="connsiteY181" fmla="*/ 1274625 h 2666074"/>
                <a:gd name="connsiteX182" fmla="*/ 1874281 w 3798527"/>
                <a:gd name="connsiteY182" fmla="*/ 1383801 h 2666074"/>
                <a:gd name="connsiteX183" fmla="*/ 2022194 w 3798527"/>
                <a:gd name="connsiteY183" fmla="*/ 1383801 h 2666074"/>
                <a:gd name="connsiteX184" fmla="*/ 2022194 w 3798527"/>
                <a:gd name="connsiteY184" fmla="*/ 1274625 h 2666074"/>
                <a:gd name="connsiteX185" fmla="*/ 1601646 w 3798527"/>
                <a:gd name="connsiteY185" fmla="*/ 1274625 h 2666074"/>
                <a:gd name="connsiteX186" fmla="*/ 1601646 w 3798527"/>
                <a:gd name="connsiteY186" fmla="*/ 1383801 h 2666074"/>
                <a:gd name="connsiteX187" fmla="*/ 1749559 w 3798527"/>
                <a:gd name="connsiteY187" fmla="*/ 1383801 h 2666074"/>
                <a:gd name="connsiteX188" fmla="*/ 1749559 w 3798527"/>
                <a:gd name="connsiteY188" fmla="*/ 1274625 h 2666074"/>
                <a:gd name="connsiteX189" fmla="*/ 1329011 w 3798527"/>
                <a:gd name="connsiteY189" fmla="*/ 1274625 h 2666074"/>
                <a:gd name="connsiteX190" fmla="*/ 1329011 w 3798527"/>
                <a:gd name="connsiteY190" fmla="*/ 1383801 h 2666074"/>
                <a:gd name="connsiteX191" fmla="*/ 1476925 w 3798527"/>
                <a:gd name="connsiteY191" fmla="*/ 1383801 h 2666074"/>
                <a:gd name="connsiteX192" fmla="*/ 1476925 w 3798527"/>
                <a:gd name="connsiteY192" fmla="*/ 1274625 h 2666074"/>
                <a:gd name="connsiteX193" fmla="*/ 1057970 w 3798527"/>
                <a:gd name="connsiteY193" fmla="*/ 1274625 h 2666074"/>
                <a:gd name="connsiteX194" fmla="*/ 1057970 w 3798527"/>
                <a:gd name="connsiteY194" fmla="*/ 1383801 h 2666074"/>
                <a:gd name="connsiteX195" fmla="*/ 1205882 w 3798527"/>
                <a:gd name="connsiteY195" fmla="*/ 1383801 h 2666074"/>
                <a:gd name="connsiteX196" fmla="*/ 1205882 w 3798527"/>
                <a:gd name="connsiteY196" fmla="*/ 1274625 h 2666074"/>
                <a:gd name="connsiteX197" fmla="*/ 785335 w 3798527"/>
                <a:gd name="connsiteY197" fmla="*/ 1274625 h 2666074"/>
                <a:gd name="connsiteX198" fmla="*/ 785335 w 3798527"/>
                <a:gd name="connsiteY198" fmla="*/ 1383801 h 2666074"/>
                <a:gd name="connsiteX199" fmla="*/ 933248 w 3798527"/>
                <a:gd name="connsiteY199" fmla="*/ 1383801 h 2666074"/>
                <a:gd name="connsiteX200" fmla="*/ 933248 w 3798527"/>
                <a:gd name="connsiteY200" fmla="*/ 1274625 h 2666074"/>
                <a:gd name="connsiteX201" fmla="*/ 527049 w 3798527"/>
                <a:gd name="connsiteY201" fmla="*/ 1274625 h 2666074"/>
                <a:gd name="connsiteX202" fmla="*/ 527049 w 3798527"/>
                <a:gd name="connsiteY202" fmla="*/ 1383801 h 2666074"/>
                <a:gd name="connsiteX203" fmla="*/ 674962 w 3798527"/>
                <a:gd name="connsiteY203" fmla="*/ 1383801 h 2666074"/>
                <a:gd name="connsiteX204" fmla="*/ 674962 w 3798527"/>
                <a:gd name="connsiteY204" fmla="*/ 1274625 h 2666074"/>
                <a:gd name="connsiteX205" fmla="*/ 2250549 w 3798527"/>
                <a:gd name="connsiteY205" fmla="*/ 1061900 h 2666074"/>
                <a:gd name="connsiteX206" fmla="*/ 2250549 w 3798527"/>
                <a:gd name="connsiteY206" fmla="*/ 1169493 h 2666074"/>
                <a:gd name="connsiteX207" fmla="*/ 2398463 w 3798527"/>
                <a:gd name="connsiteY207" fmla="*/ 1169493 h 2666074"/>
                <a:gd name="connsiteX208" fmla="*/ 2398463 w 3798527"/>
                <a:gd name="connsiteY208" fmla="*/ 1061900 h 2666074"/>
                <a:gd name="connsiteX209" fmla="*/ 1977915 w 3798527"/>
                <a:gd name="connsiteY209" fmla="*/ 1061900 h 2666074"/>
                <a:gd name="connsiteX210" fmla="*/ 1977915 w 3798527"/>
                <a:gd name="connsiteY210" fmla="*/ 1169493 h 2666074"/>
                <a:gd name="connsiteX211" fmla="*/ 2125828 w 3798527"/>
                <a:gd name="connsiteY211" fmla="*/ 1169493 h 2666074"/>
                <a:gd name="connsiteX212" fmla="*/ 2125828 w 3798527"/>
                <a:gd name="connsiteY212" fmla="*/ 1061900 h 2666074"/>
                <a:gd name="connsiteX213" fmla="*/ 1705279 w 3798527"/>
                <a:gd name="connsiteY213" fmla="*/ 1061900 h 2666074"/>
                <a:gd name="connsiteX214" fmla="*/ 1705279 w 3798527"/>
                <a:gd name="connsiteY214" fmla="*/ 1169493 h 2666074"/>
                <a:gd name="connsiteX215" fmla="*/ 1853193 w 3798527"/>
                <a:gd name="connsiteY215" fmla="*/ 1169493 h 2666074"/>
                <a:gd name="connsiteX216" fmla="*/ 1853193 w 3798527"/>
                <a:gd name="connsiteY216" fmla="*/ 1061900 h 2666074"/>
                <a:gd name="connsiteX217" fmla="*/ 1434238 w 3798527"/>
                <a:gd name="connsiteY217" fmla="*/ 1061900 h 2666074"/>
                <a:gd name="connsiteX218" fmla="*/ 1434238 w 3798527"/>
                <a:gd name="connsiteY218" fmla="*/ 1169493 h 2666074"/>
                <a:gd name="connsiteX219" fmla="*/ 1582151 w 3798527"/>
                <a:gd name="connsiteY219" fmla="*/ 1169493 h 2666074"/>
                <a:gd name="connsiteX220" fmla="*/ 1582151 w 3798527"/>
                <a:gd name="connsiteY220" fmla="*/ 1061900 h 2666074"/>
                <a:gd name="connsiteX221" fmla="*/ 1161604 w 3798527"/>
                <a:gd name="connsiteY221" fmla="*/ 1061900 h 2666074"/>
                <a:gd name="connsiteX222" fmla="*/ 1161604 w 3798527"/>
                <a:gd name="connsiteY222" fmla="*/ 1169493 h 2666074"/>
                <a:gd name="connsiteX223" fmla="*/ 1309516 w 3798527"/>
                <a:gd name="connsiteY223" fmla="*/ 1169493 h 2666074"/>
                <a:gd name="connsiteX224" fmla="*/ 1309516 w 3798527"/>
                <a:gd name="connsiteY224" fmla="*/ 1061900 h 2666074"/>
                <a:gd name="connsiteX225" fmla="*/ 888968 w 3798527"/>
                <a:gd name="connsiteY225" fmla="*/ 1061900 h 2666074"/>
                <a:gd name="connsiteX226" fmla="*/ 888968 w 3798527"/>
                <a:gd name="connsiteY226" fmla="*/ 1169493 h 2666074"/>
                <a:gd name="connsiteX227" fmla="*/ 1036882 w 3798527"/>
                <a:gd name="connsiteY227" fmla="*/ 1169493 h 2666074"/>
                <a:gd name="connsiteX228" fmla="*/ 1036882 w 3798527"/>
                <a:gd name="connsiteY228" fmla="*/ 1061900 h 2666074"/>
                <a:gd name="connsiteX229" fmla="*/ 630682 w 3798527"/>
                <a:gd name="connsiteY229" fmla="*/ 1061900 h 2666074"/>
                <a:gd name="connsiteX230" fmla="*/ 630682 w 3798527"/>
                <a:gd name="connsiteY230" fmla="*/ 1169493 h 2666074"/>
                <a:gd name="connsiteX231" fmla="*/ 778596 w 3798527"/>
                <a:gd name="connsiteY231" fmla="*/ 1169493 h 2666074"/>
                <a:gd name="connsiteX232" fmla="*/ 778596 w 3798527"/>
                <a:gd name="connsiteY232" fmla="*/ 1061900 h 2666074"/>
                <a:gd name="connsiteX233" fmla="*/ 2593337 w 3798527"/>
                <a:gd name="connsiteY233" fmla="*/ 671375 h 2666074"/>
                <a:gd name="connsiteX234" fmla="*/ 2593337 w 3798527"/>
                <a:gd name="connsiteY234" fmla="*/ 780551 h 2666074"/>
                <a:gd name="connsiteX235" fmla="*/ 2741249 w 3798527"/>
                <a:gd name="connsiteY235" fmla="*/ 780551 h 2666074"/>
                <a:gd name="connsiteX236" fmla="*/ 2741249 w 3798527"/>
                <a:gd name="connsiteY236" fmla="*/ 671375 h 2666074"/>
                <a:gd name="connsiteX237" fmla="*/ 2320701 w 3798527"/>
                <a:gd name="connsiteY237" fmla="*/ 671375 h 2666074"/>
                <a:gd name="connsiteX238" fmla="*/ 2320701 w 3798527"/>
                <a:gd name="connsiteY238" fmla="*/ 780551 h 2666074"/>
                <a:gd name="connsiteX239" fmla="*/ 2468614 w 3798527"/>
                <a:gd name="connsiteY239" fmla="*/ 780551 h 2666074"/>
                <a:gd name="connsiteX240" fmla="*/ 2468614 w 3798527"/>
                <a:gd name="connsiteY240" fmla="*/ 671375 h 2666074"/>
                <a:gd name="connsiteX241" fmla="*/ 2048066 w 3798527"/>
                <a:gd name="connsiteY241" fmla="*/ 671375 h 2666074"/>
                <a:gd name="connsiteX242" fmla="*/ 2048066 w 3798527"/>
                <a:gd name="connsiteY242" fmla="*/ 780551 h 2666074"/>
                <a:gd name="connsiteX243" fmla="*/ 2195979 w 3798527"/>
                <a:gd name="connsiteY243" fmla="*/ 780551 h 2666074"/>
                <a:gd name="connsiteX244" fmla="*/ 2195979 w 3798527"/>
                <a:gd name="connsiteY244" fmla="*/ 671375 h 2666074"/>
                <a:gd name="connsiteX245" fmla="*/ 1777026 w 3798527"/>
                <a:gd name="connsiteY245" fmla="*/ 671375 h 2666074"/>
                <a:gd name="connsiteX246" fmla="*/ 1777026 w 3798527"/>
                <a:gd name="connsiteY246" fmla="*/ 780551 h 2666074"/>
                <a:gd name="connsiteX247" fmla="*/ 1924939 w 3798527"/>
                <a:gd name="connsiteY247" fmla="*/ 780551 h 2666074"/>
                <a:gd name="connsiteX248" fmla="*/ 1924939 w 3798527"/>
                <a:gd name="connsiteY248" fmla="*/ 671375 h 2666074"/>
                <a:gd name="connsiteX249" fmla="*/ 1504390 w 3798527"/>
                <a:gd name="connsiteY249" fmla="*/ 671375 h 2666074"/>
                <a:gd name="connsiteX250" fmla="*/ 1504390 w 3798527"/>
                <a:gd name="connsiteY250" fmla="*/ 780551 h 2666074"/>
                <a:gd name="connsiteX251" fmla="*/ 1652304 w 3798527"/>
                <a:gd name="connsiteY251" fmla="*/ 780551 h 2666074"/>
                <a:gd name="connsiteX252" fmla="*/ 1652304 w 3798527"/>
                <a:gd name="connsiteY252" fmla="*/ 671375 h 2666074"/>
                <a:gd name="connsiteX253" fmla="*/ 1246104 w 3798527"/>
                <a:gd name="connsiteY253" fmla="*/ 671375 h 2666074"/>
                <a:gd name="connsiteX254" fmla="*/ 1246104 w 3798527"/>
                <a:gd name="connsiteY254" fmla="*/ 780551 h 2666074"/>
                <a:gd name="connsiteX255" fmla="*/ 1394019 w 3798527"/>
                <a:gd name="connsiteY255" fmla="*/ 780551 h 2666074"/>
                <a:gd name="connsiteX256" fmla="*/ 1394019 w 3798527"/>
                <a:gd name="connsiteY256" fmla="*/ 671375 h 2666074"/>
                <a:gd name="connsiteX257" fmla="*/ 975063 w 3798527"/>
                <a:gd name="connsiteY257" fmla="*/ 671375 h 2666074"/>
                <a:gd name="connsiteX258" fmla="*/ 975063 w 3798527"/>
                <a:gd name="connsiteY258" fmla="*/ 780551 h 2666074"/>
                <a:gd name="connsiteX259" fmla="*/ 1122977 w 3798527"/>
                <a:gd name="connsiteY259" fmla="*/ 780551 h 2666074"/>
                <a:gd name="connsiteX260" fmla="*/ 1122977 w 3798527"/>
                <a:gd name="connsiteY260" fmla="*/ 671375 h 2666074"/>
                <a:gd name="connsiteX261" fmla="*/ 869898 w 3798527"/>
                <a:gd name="connsiteY261" fmla="*/ 509450 h 2666074"/>
                <a:gd name="connsiteX262" fmla="*/ 2787701 w 3798527"/>
                <a:gd name="connsiteY262" fmla="*/ 509450 h 2666074"/>
                <a:gd name="connsiteX263" fmla="*/ 2940031 w 3798527"/>
                <a:gd name="connsiteY263" fmla="*/ 898387 h 2666074"/>
                <a:gd name="connsiteX264" fmla="*/ 717739 w 3798527"/>
                <a:gd name="connsiteY264" fmla="*/ 898387 h 2666074"/>
                <a:gd name="connsiteX265" fmla="*/ 702066 w 3798527"/>
                <a:gd name="connsiteY265" fmla="*/ 938075 h 2666074"/>
                <a:gd name="connsiteX266" fmla="*/ 2955575 w 3798527"/>
                <a:gd name="connsiteY266" fmla="*/ 938075 h 2666074"/>
                <a:gd name="connsiteX267" fmla="*/ 2966417 w 3798527"/>
                <a:gd name="connsiteY267" fmla="*/ 938075 h 2666074"/>
                <a:gd name="connsiteX268" fmla="*/ 3122728 w 3798527"/>
                <a:gd name="connsiteY268" fmla="*/ 938075 h 2666074"/>
                <a:gd name="connsiteX269" fmla="*/ 3169126 w 3798527"/>
                <a:gd name="connsiteY269" fmla="*/ 1061900 h 2666074"/>
                <a:gd name="connsiteX270" fmla="*/ 2531840 w 3798527"/>
                <a:gd name="connsiteY270" fmla="*/ 1061900 h 2666074"/>
                <a:gd name="connsiteX271" fmla="*/ 2515213 w 3798527"/>
                <a:gd name="connsiteY271" fmla="*/ 1171076 h 2666074"/>
                <a:gd name="connsiteX272" fmla="*/ 3210303 w 3798527"/>
                <a:gd name="connsiteY272" fmla="*/ 1171076 h 2666074"/>
                <a:gd name="connsiteX273" fmla="*/ 3245108 w 3798527"/>
                <a:gd name="connsiteY273" fmla="*/ 1265877 h 2666074"/>
                <a:gd name="connsiteX274" fmla="*/ 3245414 w 3798527"/>
                <a:gd name="connsiteY274" fmla="*/ 1266687 h 2666074"/>
                <a:gd name="connsiteX275" fmla="*/ 2455538 w 3798527"/>
                <a:gd name="connsiteY275" fmla="*/ 1266687 h 2666074"/>
                <a:gd name="connsiteX276" fmla="*/ 2445061 w 3798527"/>
                <a:gd name="connsiteY276" fmla="*/ 1375864 h 2666074"/>
                <a:gd name="connsiteX277" fmla="*/ 3286588 w 3798527"/>
                <a:gd name="connsiteY277" fmla="*/ 1375864 h 2666074"/>
                <a:gd name="connsiteX278" fmla="*/ 3326352 w 3798527"/>
                <a:gd name="connsiteY278" fmla="*/ 1482587 h 2666074"/>
                <a:gd name="connsiteX279" fmla="*/ 2519152 w 3798527"/>
                <a:gd name="connsiteY279" fmla="*/ 1482587 h 2666074"/>
                <a:gd name="connsiteX280" fmla="*/ 2292724 w 3798527"/>
                <a:gd name="connsiteY280" fmla="*/ 1622516 h 2666074"/>
                <a:gd name="connsiteX281" fmla="*/ 867916 w 3798527"/>
                <a:gd name="connsiteY281" fmla="*/ 1622516 h 2666074"/>
                <a:gd name="connsiteX282" fmla="*/ 641488 w 3798527"/>
                <a:gd name="connsiteY282" fmla="*/ 1482587 h 2666074"/>
                <a:gd name="connsiteX283" fmla="*/ 310392 w 3798527"/>
                <a:gd name="connsiteY283" fmla="*/ 1482587 h 2666074"/>
                <a:gd name="connsiteX284" fmla="*/ 513515 w 3798527"/>
                <a:gd name="connsiteY284" fmla="*/ 938075 h 2666074"/>
                <a:gd name="connsiteX285" fmla="*/ 701768 w 3798527"/>
                <a:gd name="connsiteY285" fmla="*/ 938075 h 2666074"/>
                <a:gd name="connsiteX286" fmla="*/ 1699365 w 3798527"/>
                <a:gd name="connsiteY286" fmla="*/ 330925 h 2666074"/>
                <a:gd name="connsiteX287" fmla="*/ 2667850 w 3798527"/>
                <a:gd name="connsiteY287" fmla="*/ 330925 h 2666074"/>
                <a:gd name="connsiteX288" fmla="*/ 2701597 w 3798527"/>
                <a:gd name="connsiteY288" fmla="*/ 483325 h 2666074"/>
                <a:gd name="connsiteX289" fmla="*/ 1665516 w 3798527"/>
                <a:gd name="connsiteY289" fmla="*/ 483325 h 2666074"/>
                <a:gd name="connsiteX290" fmla="*/ 969962 w 3798527"/>
                <a:gd name="connsiteY290" fmla="*/ 166589 h 2666074"/>
                <a:gd name="connsiteX291" fmla="*/ 1341077 w 3798527"/>
                <a:gd name="connsiteY291" fmla="*/ 166589 h 2666074"/>
                <a:gd name="connsiteX292" fmla="*/ 1341077 w 3798527"/>
                <a:gd name="connsiteY292" fmla="*/ 478100 h 2666074"/>
                <a:gd name="connsiteX293" fmla="*/ 969962 w 3798527"/>
                <a:gd name="connsiteY293" fmla="*/ 478100 h 2666074"/>
                <a:gd name="connsiteX294" fmla="*/ 923925 w 3798527"/>
                <a:gd name="connsiteY294" fmla="*/ 0 h 2666074"/>
                <a:gd name="connsiteX295" fmla="*/ 1388702 w 3798527"/>
                <a:gd name="connsiteY295" fmla="*/ 0 h 2666074"/>
                <a:gd name="connsiteX296" fmla="*/ 1388702 w 3798527"/>
                <a:gd name="connsiteY296" fmla="*/ 145688 h 2666074"/>
                <a:gd name="connsiteX297" fmla="*/ 923925 w 3798527"/>
                <a:gd name="connsiteY297" fmla="*/ 145688 h 2666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</a:cxnLst>
              <a:rect l="l" t="t" r="r" b="b"/>
              <a:pathLst>
                <a:path w="3798527" h="2666074">
                  <a:moveTo>
                    <a:pt x="1428316" y="2077472"/>
                  </a:moveTo>
                  <a:cubicBezTo>
                    <a:pt x="1361126" y="2077472"/>
                    <a:pt x="1306512" y="2132001"/>
                    <a:pt x="1306512" y="2199529"/>
                  </a:cubicBezTo>
                  <a:cubicBezTo>
                    <a:pt x="1306512" y="2266697"/>
                    <a:pt x="1361126" y="2321586"/>
                    <a:pt x="1428316" y="2321586"/>
                  </a:cubicBezTo>
                  <a:cubicBezTo>
                    <a:pt x="1495146" y="2321586"/>
                    <a:pt x="1549041" y="2266697"/>
                    <a:pt x="1549041" y="2199529"/>
                  </a:cubicBezTo>
                  <a:cubicBezTo>
                    <a:pt x="1549041" y="2132001"/>
                    <a:pt x="1495146" y="2077472"/>
                    <a:pt x="1428316" y="2077472"/>
                  </a:cubicBezTo>
                  <a:close/>
                  <a:moveTo>
                    <a:pt x="943409" y="2077472"/>
                  </a:moveTo>
                  <a:cubicBezTo>
                    <a:pt x="876579" y="2077472"/>
                    <a:pt x="822325" y="2132001"/>
                    <a:pt x="822325" y="2199529"/>
                  </a:cubicBezTo>
                  <a:cubicBezTo>
                    <a:pt x="822325" y="2266697"/>
                    <a:pt x="876579" y="2321586"/>
                    <a:pt x="943409" y="2321586"/>
                  </a:cubicBezTo>
                  <a:cubicBezTo>
                    <a:pt x="1010957" y="2321586"/>
                    <a:pt x="1064852" y="2266697"/>
                    <a:pt x="1064852" y="2199529"/>
                  </a:cubicBezTo>
                  <a:cubicBezTo>
                    <a:pt x="1064852" y="2132001"/>
                    <a:pt x="1010957" y="2077472"/>
                    <a:pt x="943409" y="2077472"/>
                  </a:cubicBezTo>
                  <a:close/>
                  <a:moveTo>
                    <a:pt x="460194" y="2077472"/>
                  </a:moveTo>
                  <a:cubicBezTo>
                    <a:pt x="393026" y="2077472"/>
                    <a:pt x="338137" y="2132001"/>
                    <a:pt x="338137" y="2199529"/>
                  </a:cubicBezTo>
                  <a:cubicBezTo>
                    <a:pt x="338137" y="2266697"/>
                    <a:pt x="393026" y="2321586"/>
                    <a:pt x="460194" y="2321586"/>
                  </a:cubicBezTo>
                  <a:cubicBezTo>
                    <a:pt x="527722" y="2321586"/>
                    <a:pt x="582251" y="2266697"/>
                    <a:pt x="582251" y="2199529"/>
                  </a:cubicBezTo>
                  <a:cubicBezTo>
                    <a:pt x="582251" y="2132001"/>
                    <a:pt x="527722" y="2077472"/>
                    <a:pt x="460194" y="2077472"/>
                  </a:cubicBezTo>
                  <a:close/>
                  <a:moveTo>
                    <a:pt x="3291861" y="1857649"/>
                  </a:moveTo>
                  <a:cubicBezTo>
                    <a:pt x="3309850" y="1857649"/>
                    <a:pt x="3327479" y="1860526"/>
                    <a:pt x="3343669" y="1866278"/>
                  </a:cubicBezTo>
                  <a:cubicBezTo>
                    <a:pt x="3344748" y="1866997"/>
                    <a:pt x="3345108" y="1866997"/>
                    <a:pt x="3345828" y="1867357"/>
                  </a:cubicBezTo>
                  <a:cubicBezTo>
                    <a:pt x="3371732" y="1876345"/>
                    <a:pt x="3394038" y="1892884"/>
                    <a:pt x="3411667" y="1913377"/>
                  </a:cubicBezTo>
                  <a:cubicBezTo>
                    <a:pt x="3412027" y="1914096"/>
                    <a:pt x="3413106" y="1914456"/>
                    <a:pt x="3413106" y="1915534"/>
                  </a:cubicBezTo>
                  <a:cubicBezTo>
                    <a:pt x="3435052" y="1942140"/>
                    <a:pt x="3448724" y="1976655"/>
                    <a:pt x="3448724" y="2014406"/>
                  </a:cubicBezTo>
                  <a:cubicBezTo>
                    <a:pt x="3448724" y="2015485"/>
                    <a:pt x="3448724" y="2016923"/>
                    <a:pt x="3448724" y="2018721"/>
                  </a:cubicBezTo>
                  <a:cubicBezTo>
                    <a:pt x="3448724" y="2019440"/>
                    <a:pt x="3448724" y="2019799"/>
                    <a:pt x="3448724" y="2020159"/>
                  </a:cubicBezTo>
                  <a:cubicBezTo>
                    <a:pt x="3447285" y="2053236"/>
                    <a:pt x="3436132" y="2083437"/>
                    <a:pt x="3417423" y="2108245"/>
                  </a:cubicBezTo>
                  <a:cubicBezTo>
                    <a:pt x="3417063" y="2108245"/>
                    <a:pt x="3416704" y="2108604"/>
                    <a:pt x="3416344" y="2108964"/>
                  </a:cubicBezTo>
                  <a:lnTo>
                    <a:pt x="3415803" y="2109465"/>
                  </a:lnTo>
                  <a:lnTo>
                    <a:pt x="3495675" y="2186341"/>
                  </a:lnTo>
                  <a:cubicBezTo>
                    <a:pt x="3466571" y="2220776"/>
                    <a:pt x="3429202" y="2247319"/>
                    <a:pt x="3387163" y="2263819"/>
                  </a:cubicBezTo>
                  <a:cubicBezTo>
                    <a:pt x="3382492" y="2265613"/>
                    <a:pt x="3377821" y="2267047"/>
                    <a:pt x="3373509" y="2268841"/>
                  </a:cubicBezTo>
                  <a:cubicBezTo>
                    <a:pt x="3372431" y="2268841"/>
                    <a:pt x="3372072" y="2269200"/>
                    <a:pt x="3370994" y="2269200"/>
                  </a:cubicBezTo>
                  <a:lnTo>
                    <a:pt x="3321409" y="2168406"/>
                  </a:lnTo>
                  <a:lnTo>
                    <a:pt x="3321539" y="2168355"/>
                  </a:lnTo>
                  <a:lnTo>
                    <a:pt x="3319204" y="2168646"/>
                  </a:lnTo>
                  <a:cubicBezTo>
                    <a:pt x="3309850" y="2170444"/>
                    <a:pt x="3300856" y="2171163"/>
                    <a:pt x="3291861" y="2171163"/>
                  </a:cubicBezTo>
                  <a:cubicBezTo>
                    <a:pt x="3269555" y="2171163"/>
                    <a:pt x="3247968" y="2166489"/>
                    <a:pt x="3228900" y="2158220"/>
                  </a:cubicBezTo>
                  <a:cubicBezTo>
                    <a:pt x="3228900" y="2157860"/>
                    <a:pt x="3228900" y="2157860"/>
                    <a:pt x="3228540" y="2157860"/>
                  </a:cubicBezTo>
                  <a:cubicBezTo>
                    <a:pt x="3194362" y="2142760"/>
                    <a:pt x="3166659" y="2115795"/>
                    <a:pt x="3150829" y="2082718"/>
                  </a:cubicBezTo>
                  <a:cubicBezTo>
                    <a:pt x="3150109" y="2081280"/>
                    <a:pt x="3149390" y="2080201"/>
                    <a:pt x="3148670" y="2079482"/>
                  </a:cubicBezTo>
                  <a:cubicBezTo>
                    <a:pt x="3140035" y="2059348"/>
                    <a:pt x="3134998" y="2037416"/>
                    <a:pt x="3134998" y="2014406"/>
                  </a:cubicBezTo>
                  <a:cubicBezTo>
                    <a:pt x="3134998" y="2011170"/>
                    <a:pt x="3134998" y="2007216"/>
                    <a:pt x="3135358" y="2003980"/>
                  </a:cubicBezTo>
                  <a:cubicBezTo>
                    <a:pt x="3135358" y="2003620"/>
                    <a:pt x="3135358" y="2002901"/>
                    <a:pt x="3135358" y="2002901"/>
                  </a:cubicBezTo>
                  <a:cubicBezTo>
                    <a:pt x="3137877" y="1966588"/>
                    <a:pt x="3152987" y="1933511"/>
                    <a:pt x="3176373" y="1907984"/>
                  </a:cubicBezTo>
                  <a:cubicBezTo>
                    <a:pt x="3177092" y="1906905"/>
                    <a:pt x="3178172" y="1906186"/>
                    <a:pt x="3178531" y="1905827"/>
                  </a:cubicBezTo>
                  <a:cubicBezTo>
                    <a:pt x="3194721" y="1888569"/>
                    <a:pt x="3215588" y="1875626"/>
                    <a:pt x="3237535" y="1867357"/>
                  </a:cubicBezTo>
                  <a:cubicBezTo>
                    <a:pt x="3238614" y="1866997"/>
                    <a:pt x="3239334" y="1866997"/>
                    <a:pt x="3239694" y="1866278"/>
                  </a:cubicBezTo>
                  <a:cubicBezTo>
                    <a:pt x="3255524" y="1860526"/>
                    <a:pt x="3273153" y="1857649"/>
                    <a:pt x="3291861" y="1857649"/>
                  </a:cubicBezTo>
                  <a:close/>
                  <a:moveTo>
                    <a:pt x="2629874" y="1857649"/>
                  </a:moveTo>
                  <a:cubicBezTo>
                    <a:pt x="2648222" y="1857649"/>
                    <a:pt x="2665491" y="1860526"/>
                    <a:pt x="2681681" y="1866278"/>
                  </a:cubicBezTo>
                  <a:cubicBezTo>
                    <a:pt x="2682401" y="1866997"/>
                    <a:pt x="2683120" y="1866997"/>
                    <a:pt x="2683840" y="1867357"/>
                  </a:cubicBezTo>
                  <a:cubicBezTo>
                    <a:pt x="2709384" y="1876345"/>
                    <a:pt x="2732410" y="1892884"/>
                    <a:pt x="2749679" y="1913377"/>
                  </a:cubicBezTo>
                  <a:lnTo>
                    <a:pt x="2751010" y="1915372"/>
                  </a:lnTo>
                  <a:lnTo>
                    <a:pt x="2849705" y="1863158"/>
                  </a:lnTo>
                  <a:cubicBezTo>
                    <a:pt x="2850064" y="1863516"/>
                    <a:pt x="2850784" y="1863875"/>
                    <a:pt x="2850784" y="1864950"/>
                  </a:cubicBezTo>
                  <a:cubicBezTo>
                    <a:pt x="2857619" y="1874987"/>
                    <a:pt x="2864094" y="1885741"/>
                    <a:pt x="2869850" y="1896854"/>
                  </a:cubicBezTo>
                  <a:cubicBezTo>
                    <a:pt x="2880641" y="1918720"/>
                    <a:pt x="2888196" y="1943096"/>
                    <a:pt x="2892872" y="1968189"/>
                  </a:cubicBezTo>
                  <a:cubicBezTo>
                    <a:pt x="2895031" y="1978943"/>
                    <a:pt x="2896110" y="1989697"/>
                    <a:pt x="2896470" y="2000809"/>
                  </a:cubicBezTo>
                  <a:cubicBezTo>
                    <a:pt x="2896470" y="2001168"/>
                    <a:pt x="2896470" y="2001885"/>
                    <a:pt x="2896470" y="2002243"/>
                  </a:cubicBezTo>
                  <a:lnTo>
                    <a:pt x="2786736" y="2018324"/>
                  </a:lnTo>
                  <a:lnTo>
                    <a:pt x="2786736" y="2018721"/>
                  </a:lnTo>
                  <a:cubicBezTo>
                    <a:pt x="2786736" y="2019440"/>
                    <a:pt x="2786736" y="2019799"/>
                    <a:pt x="2786736" y="2020159"/>
                  </a:cubicBezTo>
                  <a:cubicBezTo>
                    <a:pt x="2785297" y="2053236"/>
                    <a:pt x="2774144" y="2083437"/>
                    <a:pt x="2755435" y="2108245"/>
                  </a:cubicBezTo>
                  <a:cubicBezTo>
                    <a:pt x="2755076" y="2108245"/>
                    <a:pt x="2754716" y="2108604"/>
                    <a:pt x="2754356" y="2108964"/>
                  </a:cubicBezTo>
                  <a:lnTo>
                    <a:pt x="2753533" y="2109726"/>
                  </a:lnTo>
                  <a:lnTo>
                    <a:pt x="2832971" y="2186341"/>
                  </a:lnTo>
                  <a:cubicBezTo>
                    <a:pt x="2804285" y="2220776"/>
                    <a:pt x="2766635" y="2247319"/>
                    <a:pt x="2724682" y="2263819"/>
                  </a:cubicBezTo>
                  <a:cubicBezTo>
                    <a:pt x="2720020" y="2265613"/>
                    <a:pt x="2715359" y="2267047"/>
                    <a:pt x="2711056" y="2268841"/>
                  </a:cubicBezTo>
                  <a:cubicBezTo>
                    <a:pt x="2710339" y="2268841"/>
                    <a:pt x="2709622" y="2269200"/>
                    <a:pt x="2708187" y="2269200"/>
                  </a:cubicBezTo>
                  <a:lnTo>
                    <a:pt x="2658709" y="2168415"/>
                  </a:lnTo>
                  <a:lnTo>
                    <a:pt x="2656857" y="2168646"/>
                  </a:lnTo>
                  <a:cubicBezTo>
                    <a:pt x="2648222" y="2170444"/>
                    <a:pt x="2638868" y="2171163"/>
                    <a:pt x="2629874" y="2171163"/>
                  </a:cubicBezTo>
                  <a:cubicBezTo>
                    <a:pt x="2607568" y="2171163"/>
                    <a:pt x="2585981" y="2166489"/>
                    <a:pt x="2567273" y="2158220"/>
                  </a:cubicBezTo>
                  <a:cubicBezTo>
                    <a:pt x="2566913" y="2157860"/>
                    <a:pt x="2566913" y="2157860"/>
                    <a:pt x="2566193" y="2157860"/>
                  </a:cubicBezTo>
                  <a:cubicBezTo>
                    <a:pt x="2532374" y="2142760"/>
                    <a:pt x="2504672" y="2115795"/>
                    <a:pt x="2488482" y="2082718"/>
                  </a:cubicBezTo>
                  <a:cubicBezTo>
                    <a:pt x="2487762" y="2081280"/>
                    <a:pt x="2487402" y="2080201"/>
                    <a:pt x="2487043" y="2079482"/>
                  </a:cubicBezTo>
                  <a:cubicBezTo>
                    <a:pt x="2477688" y="2059348"/>
                    <a:pt x="2472651" y="2037416"/>
                    <a:pt x="2472651" y="2014406"/>
                  </a:cubicBezTo>
                  <a:cubicBezTo>
                    <a:pt x="2472651" y="2011170"/>
                    <a:pt x="2472651" y="2007216"/>
                    <a:pt x="2473371" y="2003980"/>
                  </a:cubicBezTo>
                  <a:cubicBezTo>
                    <a:pt x="2473371" y="2003620"/>
                    <a:pt x="2473371" y="2002901"/>
                    <a:pt x="2473371" y="2002901"/>
                  </a:cubicBezTo>
                  <a:cubicBezTo>
                    <a:pt x="2475889" y="1966588"/>
                    <a:pt x="2491360" y="1933511"/>
                    <a:pt x="2514386" y="1907984"/>
                  </a:cubicBezTo>
                  <a:cubicBezTo>
                    <a:pt x="2515105" y="1906905"/>
                    <a:pt x="2516184" y="1906186"/>
                    <a:pt x="2516544" y="1905827"/>
                  </a:cubicBezTo>
                  <a:cubicBezTo>
                    <a:pt x="2532734" y="1888569"/>
                    <a:pt x="2552882" y="1875626"/>
                    <a:pt x="2575907" y="1867357"/>
                  </a:cubicBezTo>
                  <a:cubicBezTo>
                    <a:pt x="2576267" y="1866997"/>
                    <a:pt x="2576987" y="1866997"/>
                    <a:pt x="2577706" y="1866278"/>
                  </a:cubicBezTo>
                  <a:cubicBezTo>
                    <a:pt x="2593536" y="1860526"/>
                    <a:pt x="2611165" y="1857649"/>
                    <a:pt x="2629874" y="1857649"/>
                  </a:cubicBezTo>
                  <a:close/>
                  <a:moveTo>
                    <a:pt x="3291861" y="1747272"/>
                  </a:moveTo>
                  <a:lnTo>
                    <a:pt x="3291468" y="1747323"/>
                  </a:lnTo>
                  <a:lnTo>
                    <a:pt x="3360525" y="1756236"/>
                  </a:lnTo>
                  <a:cubicBezTo>
                    <a:pt x="3361605" y="1756236"/>
                    <a:pt x="3361964" y="1756595"/>
                    <a:pt x="3362324" y="1756595"/>
                  </a:cubicBezTo>
                  <a:lnTo>
                    <a:pt x="3342890" y="1865975"/>
                  </a:lnTo>
                  <a:cubicBezTo>
                    <a:pt x="3326696" y="1860237"/>
                    <a:pt x="3309061" y="1857368"/>
                    <a:pt x="3291067" y="1857368"/>
                  </a:cubicBezTo>
                  <a:cubicBezTo>
                    <a:pt x="3272353" y="1857368"/>
                    <a:pt x="3254718" y="1860237"/>
                    <a:pt x="3238883" y="1865975"/>
                  </a:cubicBezTo>
                  <a:lnTo>
                    <a:pt x="3219875" y="1756971"/>
                  </a:lnTo>
                  <a:lnTo>
                    <a:pt x="3140035" y="1794282"/>
                  </a:lnTo>
                  <a:cubicBezTo>
                    <a:pt x="3115841" y="1811000"/>
                    <a:pt x="3094524" y="1831583"/>
                    <a:pt x="3076715" y="1855133"/>
                  </a:cubicBezTo>
                  <a:lnTo>
                    <a:pt x="3076457" y="1855584"/>
                  </a:lnTo>
                  <a:lnTo>
                    <a:pt x="3175001" y="1907898"/>
                  </a:lnTo>
                  <a:cubicBezTo>
                    <a:pt x="3151716" y="1933340"/>
                    <a:pt x="3136671" y="1966307"/>
                    <a:pt x="3134163" y="2002500"/>
                  </a:cubicBezTo>
                  <a:lnTo>
                    <a:pt x="3025267" y="1987193"/>
                  </a:lnTo>
                  <a:lnTo>
                    <a:pt x="3025267" y="1987441"/>
                  </a:lnTo>
                  <a:cubicBezTo>
                    <a:pt x="3024547" y="1996429"/>
                    <a:pt x="3024187" y="2005058"/>
                    <a:pt x="3024187" y="2014406"/>
                  </a:cubicBezTo>
                  <a:cubicBezTo>
                    <a:pt x="3024187" y="2041551"/>
                    <a:pt x="3028235" y="2067887"/>
                    <a:pt x="3035790" y="2092695"/>
                  </a:cubicBezTo>
                  <a:lnTo>
                    <a:pt x="3067892" y="2160656"/>
                  </a:lnTo>
                  <a:lnTo>
                    <a:pt x="3149735" y="2082233"/>
                  </a:lnTo>
                  <a:cubicBezTo>
                    <a:pt x="3165553" y="2115222"/>
                    <a:pt x="3193234" y="2142115"/>
                    <a:pt x="3227387" y="2157175"/>
                  </a:cubicBezTo>
                  <a:lnTo>
                    <a:pt x="3178495" y="2256500"/>
                  </a:lnTo>
                  <a:lnTo>
                    <a:pt x="3178135" y="2256141"/>
                  </a:lnTo>
                  <a:lnTo>
                    <a:pt x="3118242" y="2217791"/>
                  </a:lnTo>
                  <a:lnTo>
                    <a:pt x="3118584" y="2218172"/>
                  </a:lnTo>
                  <a:cubicBezTo>
                    <a:pt x="3136887" y="2233722"/>
                    <a:pt x="3157305" y="2246845"/>
                    <a:pt x="3179251" y="2257092"/>
                  </a:cubicBezTo>
                  <a:lnTo>
                    <a:pt x="3179611" y="2257451"/>
                  </a:lnTo>
                  <a:cubicBezTo>
                    <a:pt x="3214149" y="2272911"/>
                    <a:pt x="3251926" y="2281900"/>
                    <a:pt x="3291861" y="2281900"/>
                  </a:cubicBezTo>
                  <a:cubicBezTo>
                    <a:pt x="3319924" y="2281900"/>
                    <a:pt x="3346547" y="2277585"/>
                    <a:pt x="3371732" y="2269316"/>
                  </a:cubicBezTo>
                  <a:cubicBezTo>
                    <a:pt x="3372811" y="2269316"/>
                    <a:pt x="3373171" y="2268956"/>
                    <a:pt x="3374250" y="2268956"/>
                  </a:cubicBezTo>
                  <a:cubicBezTo>
                    <a:pt x="3378567" y="2267159"/>
                    <a:pt x="3383244" y="2265721"/>
                    <a:pt x="3387922" y="2263923"/>
                  </a:cubicBezTo>
                  <a:cubicBezTo>
                    <a:pt x="3430015" y="2247384"/>
                    <a:pt x="3467432" y="2220779"/>
                    <a:pt x="3496574" y="2186264"/>
                  </a:cubicBezTo>
                  <a:cubicBezTo>
                    <a:pt x="3501611" y="2180511"/>
                    <a:pt x="3506648" y="2173680"/>
                    <a:pt x="3510965" y="2167208"/>
                  </a:cubicBezTo>
                  <a:cubicBezTo>
                    <a:pt x="3541186" y="2123705"/>
                    <a:pt x="3558815" y="2070853"/>
                    <a:pt x="3558815" y="2014406"/>
                  </a:cubicBezTo>
                  <a:cubicBezTo>
                    <a:pt x="3558815" y="2010451"/>
                    <a:pt x="3558815" y="2006856"/>
                    <a:pt x="3558815" y="2002542"/>
                  </a:cubicBezTo>
                  <a:lnTo>
                    <a:pt x="3558815" y="2002297"/>
                  </a:lnTo>
                  <a:lnTo>
                    <a:pt x="3449097" y="2018375"/>
                  </a:lnTo>
                  <a:cubicBezTo>
                    <a:pt x="3449097" y="2016582"/>
                    <a:pt x="3449097" y="2015149"/>
                    <a:pt x="3449097" y="2014073"/>
                  </a:cubicBezTo>
                  <a:cubicBezTo>
                    <a:pt x="3449097" y="1976434"/>
                    <a:pt x="3435428" y="1942021"/>
                    <a:pt x="3413484" y="1915495"/>
                  </a:cubicBezTo>
                  <a:lnTo>
                    <a:pt x="3512185" y="1863277"/>
                  </a:lnTo>
                  <a:lnTo>
                    <a:pt x="3512044" y="1863042"/>
                  </a:lnTo>
                  <a:cubicBezTo>
                    <a:pt x="3476786" y="1811629"/>
                    <a:pt x="3424259" y="1773518"/>
                    <a:pt x="3363097" y="1756620"/>
                  </a:cubicBezTo>
                  <a:cubicBezTo>
                    <a:pt x="3362737" y="1756620"/>
                    <a:pt x="3362377" y="1756261"/>
                    <a:pt x="3361298" y="1756261"/>
                  </a:cubicBezTo>
                  <a:cubicBezTo>
                    <a:pt x="3338992" y="1750149"/>
                    <a:pt x="3315606" y="1747272"/>
                    <a:pt x="3291861" y="1747272"/>
                  </a:cubicBezTo>
                  <a:close/>
                  <a:moveTo>
                    <a:pt x="2629874" y="1747272"/>
                  </a:moveTo>
                  <a:lnTo>
                    <a:pt x="2629210" y="1747358"/>
                  </a:lnTo>
                  <a:lnTo>
                    <a:pt x="2697825" y="1756236"/>
                  </a:lnTo>
                  <a:cubicBezTo>
                    <a:pt x="2698543" y="1756236"/>
                    <a:pt x="2699261" y="1756595"/>
                    <a:pt x="2699620" y="1756595"/>
                  </a:cubicBezTo>
                  <a:lnTo>
                    <a:pt x="2680235" y="1865974"/>
                  </a:lnTo>
                  <a:cubicBezTo>
                    <a:pt x="2664081" y="1860236"/>
                    <a:pt x="2646850" y="1857367"/>
                    <a:pt x="2628542" y="1857367"/>
                  </a:cubicBezTo>
                  <a:cubicBezTo>
                    <a:pt x="2609875" y="1857367"/>
                    <a:pt x="2592285" y="1860236"/>
                    <a:pt x="2576489" y="1865974"/>
                  </a:cubicBezTo>
                  <a:lnTo>
                    <a:pt x="2557198" y="1757125"/>
                  </a:lnTo>
                  <a:lnTo>
                    <a:pt x="2477688" y="1794282"/>
                  </a:lnTo>
                  <a:cubicBezTo>
                    <a:pt x="2453403" y="1811000"/>
                    <a:pt x="2431997" y="1831583"/>
                    <a:pt x="2414368" y="1855133"/>
                  </a:cubicBezTo>
                  <a:lnTo>
                    <a:pt x="2414030" y="1855920"/>
                  </a:lnTo>
                  <a:lnTo>
                    <a:pt x="2512296" y="1907897"/>
                  </a:lnTo>
                  <a:cubicBezTo>
                    <a:pt x="2489370" y="1933339"/>
                    <a:pt x="2473966" y="1966307"/>
                    <a:pt x="2471458" y="2002499"/>
                  </a:cubicBezTo>
                  <a:lnTo>
                    <a:pt x="2363280" y="1987293"/>
                  </a:lnTo>
                  <a:lnTo>
                    <a:pt x="2363280" y="1987441"/>
                  </a:lnTo>
                  <a:cubicBezTo>
                    <a:pt x="2362920" y="1996429"/>
                    <a:pt x="2362200" y="2005058"/>
                    <a:pt x="2362200" y="2014406"/>
                  </a:cubicBezTo>
                  <a:cubicBezTo>
                    <a:pt x="2362200" y="2041551"/>
                    <a:pt x="2366248" y="2067887"/>
                    <a:pt x="2373803" y="2092695"/>
                  </a:cubicBezTo>
                  <a:lnTo>
                    <a:pt x="2405681" y="2160181"/>
                  </a:lnTo>
                  <a:lnTo>
                    <a:pt x="2486854" y="2082233"/>
                  </a:lnTo>
                  <a:cubicBezTo>
                    <a:pt x="2503068" y="2115222"/>
                    <a:pt x="2530812" y="2142115"/>
                    <a:pt x="2564681" y="2157175"/>
                  </a:cubicBezTo>
                  <a:lnTo>
                    <a:pt x="2516112" y="2256353"/>
                  </a:lnTo>
                  <a:lnTo>
                    <a:pt x="2517264" y="2257092"/>
                  </a:lnTo>
                  <a:lnTo>
                    <a:pt x="2517623" y="2257451"/>
                  </a:lnTo>
                  <a:cubicBezTo>
                    <a:pt x="2551802" y="2272911"/>
                    <a:pt x="2589938" y="2281900"/>
                    <a:pt x="2629874" y="2281900"/>
                  </a:cubicBezTo>
                  <a:cubicBezTo>
                    <a:pt x="2657217" y="2281900"/>
                    <a:pt x="2684200" y="2277585"/>
                    <a:pt x="2709384" y="2269316"/>
                  </a:cubicBezTo>
                  <a:cubicBezTo>
                    <a:pt x="2710823" y="2269316"/>
                    <a:pt x="2711543" y="2268956"/>
                    <a:pt x="2712262" y="2268956"/>
                  </a:cubicBezTo>
                  <a:cubicBezTo>
                    <a:pt x="2716580" y="2267159"/>
                    <a:pt x="2721257" y="2265721"/>
                    <a:pt x="2725934" y="2263923"/>
                  </a:cubicBezTo>
                  <a:cubicBezTo>
                    <a:pt x="2768028" y="2247384"/>
                    <a:pt x="2805804" y="2220779"/>
                    <a:pt x="2834586" y="2186264"/>
                  </a:cubicBezTo>
                  <a:cubicBezTo>
                    <a:pt x="2839623" y="2180511"/>
                    <a:pt x="2844660" y="2173680"/>
                    <a:pt x="2848977" y="2167208"/>
                  </a:cubicBezTo>
                  <a:cubicBezTo>
                    <a:pt x="2879198" y="2123705"/>
                    <a:pt x="2896827" y="2070853"/>
                    <a:pt x="2896827" y="2014406"/>
                  </a:cubicBezTo>
                  <a:cubicBezTo>
                    <a:pt x="2896827" y="2010451"/>
                    <a:pt x="2896827" y="2006856"/>
                    <a:pt x="2896827" y="2002542"/>
                  </a:cubicBezTo>
                  <a:cubicBezTo>
                    <a:pt x="2896827" y="2002182"/>
                    <a:pt x="2896827" y="2001463"/>
                    <a:pt x="2896827" y="2001103"/>
                  </a:cubicBezTo>
                  <a:cubicBezTo>
                    <a:pt x="2896468" y="1989958"/>
                    <a:pt x="2895388" y="1979172"/>
                    <a:pt x="2893230" y="1968386"/>
                  </a:cubicBezTo>
                  <a:cubicBezTo>
                    <a:pt x="2888553" y="1943218"/>
                    <a:pt x="2880997" y="1918770"/>
                    <a:pt x="2870204" y="1896839"/>
                  </a:cubicBezTo>
                  <a:cubicBezTo>
                    <a:pt x="2864448" y="1885693"/>
                    <a:pt x="2857972" y="1874907"/>
                    <a:pt x="2851136" y="1864840"/>
                  </a:cubicBezTo>
                  <a:cubicBezTo>
                    <a:pt x="2851136" y="1863761"/>
                    <a:pt x="2850416" y="1863402"/>
                    <a:pt x="2850057" y="1863042"/>
                  </a:cubicBezTo>
                  <a:cubicBezTo>
                    <a:pt x="2814799" y="1811629"/>
                    <a:pt x="2762271" y="1773518"/>
                    <a:pt x="2701109" y="1756620"/>
                  </a:cubicBezTo>
                  <a:cubicBezTo>
                    <a:pt x="2700750" y="1756620"/>
                    <a:pt x="2700030" y="1756261"/>
                    <a:pt x="2699310" y="1756261"/>
                  </a:cubicBezTo>
                  <a:cubicBezTo>
                    <a:pt x="2677004" y="1750149"/>
                    <a:pt x="2653619" y="1747272"/>
                    <a:pt x="2629874" y="1747272"/>
                  </a:cubicBezTo>
                  <a:close/>
                  <a:moveTo>
                    <a:pt x="0" y="1526609"/>
                  </a:moveTo>
                  <a:lnTo>
                    <a:pt x="641488" y="1526609"/>
                  </a:lnTo>
                  <a:lnTo>
                    <a:pt x="867916" y="1666746"/>
                  </a:lnTo>
                  <a:lnTo>
                    <a:pt x="2292724" y="1666746"/>
                  </a:lnTo>
                  <a:lnTo>
                    <a:pt x="2519152" y="1526609"/>
                  </a:lnTo>
                  <a:lnTo>
                    <a:pt x="3798527" y="1526609"/>
                  </a:lnTo>
                  <a:cubicBezTo>
                    <a:pt x="3798527" y="1526609"/>
                    <a:pt x="3772248" y="1982683"/>
                    <a:pt x="3687653" y="2319155"/>
                  </a:cubicBezTo>
                  <a:cubicBezTo>
                    <a:pt x="3634016" y="2530621"/>
                    <a:pt x="3511262" y="2666074"/>
                    <a:pt x="3375549" y="2666074"/>
                  </a:cubicBezTo>
                  <a:lnTo>
                    <a:pt x="2314323" y="2666074"/>
                  </a:lnTo>
                  <a:lnTo>
                    <a:pt x="1484565" y="2666074"/>
                  </a:lnTo>
                  <a:lnTo>
                    <a:pt x="422979" y="2666074"/>
                  </a:lnTo>
                  <a:cubicBezTo>
                    <a:pt x="287266" y="2666074"/>
                    <a:pt x="164512" y="2530621"/>
                    <a:pt x="111234" y="2319155"/>
                  </a:cubicBezTo>
                  <a:cubicBezTo>
                    <a:pt x="26279" y="1982683"/>
                    <a:pt x="0" y="1526609"/>
                    <a:pt x="0" y="1526609"/>
                  </a:cubicBezTo>
                  <a:close/>
                  <a:moveTo>
                    <a:pt x="2145322" y="1274625"/>
                  </a:moveTo>
                  <a:lnTo>
                    <a:pt x="2145322" y="1383801"/>
                  </a:lnTo>
                  <a:lnTo>
                    <a:pt x="2293235" y="1383801"/>
                  </a:lnTo>
                  <a:lnTo>
                    <a:pt x="2293235" y="1274625"/>
                  </a:lnTo>
                  <a:close/>
                  <a:moveTo>
                    <a:pt x="1874281" y="1274625"/>
                  </a:moveTo>
                  <a:lnTo>
                    <a:pt x="1874281" y="1383801"/>
                  </a:lnTo>
                  <a:lnTo>
                    <a:pt x="2022194" y="1383801"/>
                  </a:lnTo>
                  <a:lnTo>
                    <a:pt x="2022194" y="1274625"/>
                  </a:lnTo>
                  <a:close/>
                  <a:moveTo>
                    <a:pt x="1601646" y="1274625"/>
                  </a:moveTo>
                  <a:lnTo>
                    <a:pt x="1601646" y="1383801"/>
                  </a:lnTo>
                  <a:lnTo>
                    <a:pt x="1749559" y="1383801"/>
                  </a:lnTo>
                  <a:lnTo>
                    <a:pt x="1749559" y="1274625"/>
                  </a:lnTo>
                  <a:close/>
                  <a:moveTo>
                    <a:pt x="1329011" y="1274625"/>
                  </a:moveTo>
                  <a:lnTo>
                    <a:pt x="1329011" y="1383801"/>
                  </a:lnTo>
                  <a:lnTo>
                    <a:pt x="1476925" y="1383801"/>
                  </a:lnTo>
                  <a:lnTo>
                    <a:pt x="1476925" y="1274625"/>
                  </a:lnTo>
                  <a:close/>
                  <a:moveTo>
                    <a:pt x="1057970" y="1274625"/>
                  </a:moveTo>
                  <a:lnTo>
                    <a:pt x="1057970" y="1383801"/>
                  </a:lnTo>
                  <a:lnTo>
                    <a:pt x="1205882" y="1383801"/>
                  </a:lnTo>
                  <a:lnTo>
                    <a:pt x="1205882" y="1274625"/>
                  </a:lnTo>
                  <a:close/>
                  <a:moveTo>
                    <a:pt x="785335" y="1274625"/>
                  </a:moveTo>
                  <a:lnTo>
                    <a:pt x="785335" y="1383801"/>
                  </a:lnTo>
                  <a:lnTo>
                    <a:pt x="933248" y="1383801"/>
                  </a:lnTo>
                  <a:lnTo>
                    <a:pt x="933248" y="1274625"/>
                  </a:lnTo>
                  <a:close/>
                  <a:moveTo>
                    <a:pt x="527049" y="1274625"/>
                  </a:moveTo>
                  <a:lnTo>
                    <a:pt x="527049" y="1383801"/>
                  </a:lnTo>
                  <a:lnTo>
                    <a:pt x="674962" y="1383801"/>
                  </a:lnTo>
                  <a:lnTo>
                    <a:pt x="674962" y="1274625"/>
                  </a:lnTo>
                  <a:close/>
                  <a:moveTo>
                    <a:pt x="2250549" y="1061900"/>
                  </a:moveTo>
                  <a:lnTo>
                    <a:pt x="2250549" y="1169493"/>
                  </a:lnTo>
                  <a:lnTo>
                    <a:pt x="2398463" y="1169493"/>
                  </a:lnTo>
                  <a:lnTo>
                    <a:pt x="2398463" y="1061900"/>
                  </a:lnTo>
                  <a:close/>
                  <a:moveTo>
                    <a:pt x="1977915" y="1061900"/>
                  </a:moveTo>
                  <a:lnTo>
                    <a:pt x="1977915" y="1169493"/>
                  </a:lnTo>
                  <a:lnTo>
                    <a:pt x="2125828" y="1169493"/>
                  </a:lnTo>
                  <a:lnTo>
                    <a:pt x="2125828" y="1061900"/>
                  </a:lnTo>
                  <a:close/>
                  <a:moveTo>
                    <a:pt x="1705279" y="1061900"/>
                  </a:moveTo>
                  <a:lnTo>
                    <a:pt x="1705279" y="1169493"/>
                  </a:lnTo>
                  <a:lnTo>
                    <a:pt x="1853193" y="1169493"/>
                  </a:lnTo>
                  <a:lnTo>
                    <a:pt x="1853193" y="1061900"/>
                  </a:lnTo>
                  <a:close/>
                  <a:moveTo>
                    <a:pt x="1434238" y="1061900"/>
                  </a:moveTo>
                  <a:lnTo>
                    <a:pt x="1434238" y="1169493"/>
                  </a:lnTo>
                  <a:lnTo>
                    <a:pt x="1582151" y="1169493"/>
                  </a:lnTo>
                  <a:lnTo>
                    <a:pt x="1582151" y="1061900"/>
                  </a:lnTo>
                  <a:close/>
                  <a:moveTo>
                    <a:pt x="1161604" y="1061900"/>
                  </a:moveTo>
                  <a:lnTo>
                    <a:pt x="1161604" y="1169493"/>
                  </a:lnTo>
                  <a:lnTo>
                    <a:pt x="1309516" y="1169493"/>
                  </a:lnTo>
                  <a:lnTo>
                    <a:pt x="1309516" y="1061900"/>
                  </a:lnTo>
                  <a:close/>
                  <a:moveTo>
                    <a:pt x="888968" y="1061900"/>
                  </a:moveTo>
                  <a:lnTo>
                    <a:pt x="888968" y="1169493"/>
                  </a:lnTo>
                  <a:lnTo>
                    <a:pt x="1036882" y="1169493"/>
                  </a:lnTo>
                  <a:lnTo>
                    <a:pt x="1036882" y="1061900"/>
                  </a:lnTo>
                  <a:close/>
                  <a:moveTo>
                    <a:pt x="630682" y="1061900"/>
                  </a:moveTo>
                  <a:lnTo>
                    <a:pt x="630682" y="1169493"/>
                  </a:lnTo>
                  <a:lnTo>
                    <a:pt x="778596" y="1169493"/>
                  </a:lnTo>
                  <a:lnTo>
                    <a:pt x="778596" y="1061900"/>
                  </a:lnTo>
                  <a:close/>
                  <a:moveTo>
                    <a:pt x="2593337" y="671375"/>
                  </a:moveTo>
                  <a:lnTo>
                    <a:pt x="2593337" y="780551"/>
                  </a:lnTo>
                  <a:lnTo>
                    <a:pt x="2741249" y="780551"/>
                  </a:lnTo>
                  <a:lnTo>
                    <a:pt x="2741249" y="671375"/>
                  </a:lnTo>
                  <a:close/>
                  <a:moveTo>
                    <a:pt x="2320701" y="671375"/>
                  </a:moveTo>
                  <a:lnTo>
                    <a:pt x="2320701" y="780551"/>
                  </a:lnTo>
                  <a:lnTo>
                    <a:pt x="2468614" y="780551"/>
                  </a:lnTo>
                  <a:lnTo>
                    <a:pt x="2468614" y="671375"/>
                  </a:lnTo>
                  <a:close/>
                  <a:moveTo>
                    <a:pt x="2048066" y="671375"/>
                  </a:moveTo>
                  <a:lnTo>
                    <a:pt x="2048066" y="780551"/>
                  </a:lnTo>
                  <a:lnTo>
                    <a:pt x="2195979" y="780551"/>
                  </a:lnTo>
                  <a:lnTo>
                    <a:pt x="2195979" y="671375"/>
                  </a:lnTo>
                  <a:close/>
                  <a:moveTo>
                    <a:pt x="1777026" y="671375"/>
                  </a:moveTo>
                  <a:lnTo>
                    <a:pt x="1777026" y="780551"/>
                  </a:lnTo>
                  <a:lnTo>
                    <a:pt x="1924939" y="780551"/>
                  </a:lnTo>
                  <a:lnTo>
                    <a:pt x="1924939" y="671375"/>
                  </a:lnTo>
                  <a:close/>
                  <a:moveTo>
                    <a:pt x="1504390" y="671375"/>
                  </a:moveTo>
                  <a:lnTo>
                    <a:pt x="1504390" y="780551"/>
                  </a:lnTo>
                  <a:lnTo>
                    <a:pt x="1652304" y="780551"/>
                  </a:lnTo>
                  <a:lnTo>
                    <a:pt x="1652304" y="671375"/>
                  </a:lnTo>
                  <a:close/>
                  <a:moveTo>
                    <a:pt x="1246104" y="671375"/>
                  </a:moveTo>
                  <a:lnTo>
                    <a:pt x="1246104" y="780551"/>
                  </a:lnTo>
                  <a:lnTo>
                    <a:pt x="1394019" y="780551"/>
                  </a:lnTo>
                  <a:lnTo>
                    <a:pt x="1394019" y="671375"/>
                  </a:lnTo>
                  <a:close/>
                  <a:moveTo>
                    <a:pt x="975063" y="671375"/>
                  </a:moveTo>
                  <a:lnTo>
                    <a:pt x="975063" y="780551"/>
                  </a:lnTo>
                  <a:lnTo>
                    <a:pt x="1122977" y="780551"/>
                  </a:lnTo>
                  <a:lnTo>
                    <a:pt x="1122977" y="671375"/>
                  </a:lnTo>
                  <a:close/>
                  <a:moveTo>
                    <a:pt x="869898" y="509450"/>
                  </a:moveTo>
                  <a:lnTo>
                    <a:pt x="2787701" y="509450"/>
                  </a:lnTo>
                  <a:lnTo>
                    <a:pt x="2940031" y="898387"/>
                  </a:lnTo>
                  <a:lnTo>
                    <a:pt x="717739" y="898387"/>
                  </a:lnTo>
                  <a:lnTo>
                    <a:pt x="702066" y="938075"/>
                  </a:lnTo>
                  <a:lnTo>
                    <a:pt x="2955575" y="938075"/>
                  </a:lnTo>
                  <a:lnTo>
                    <a:pt x="2966417" y="938075"/>
                  </a:lnTo>
                  <a:lnTo>
                    <a:pt x="3122728" y="938075"/>
                  </a:lnTo>
                  <a:lnTo>
                    <a:pt x="3169126" y="1061900"/>
                  </a:lnTo>
                  <a:lnTo>
                    <a:pt x="2531840" y="1061900"/>
                  </a:lnTo>
                  <a:lnTo>
                    <a:pt x="2515213" y="1171076"/>
                  </a:lnTo>
                  <a:lnTo>
                    <a:pt x="3210303" y="1171076"/>
                  </a:lnTo>
                  <a:lnTo>
                    <a:pt x="3245108" y="1265877"/>
                  </a:lnTo>
                  <a:lnTo>
                    <a:pt x="3245414" y="1266687"/>
                  </a:lnTo>
                  <a:lnTo>
                    <a:pt x="2455538" y="1266687"/>
                  </a:lnTo>
                  <a:lnTo>
                    <a:pt x="2445061" y="1375864"/>
                  </a:lnTo>
                  <a:lnTo>
                    <a:pt x="3286588" y="1375864"/>
                  </a:lnTo>
                  <a:lnTo>
                    <a:pt x="3326352" y="1482587"/>
                  </a:lnTo>
                  <a:lnTo>
                    <a:pt x="2519152" y="1482587"/>
                  </a:lnTo>
                  <a:lnTo>
                    <a:pt x="2292724" y="1622516"/>
                  </a:lnTo>
                  <a:lnTo>
                    <a:pt x="867916" y="1622516"/>
                  </a:lnTo>
                  <a:lnTo>
                    <a:pt x="641488" y="1482587"/>
                  </a:lnTo>
                  <a:lnTo>
                    <a:pt x="310392" y="1482587"/>
                  </a:lnTo>
                  <a:lnTo>
                    <a:pt x="513515" y="938075"/>
                  </a:lnTo>
                  <a:lnTo>
                    <a:pt x="701768" y="938075"/>
                  </a:lnTo>
                  <a:close/>
                  <a:moveTo>
                    <a:pt x="1699365" y="330925"/>
                  </a:moveTo>
                  <a:lnTo>
                    <a:pt x="2667850" y="330925"/>
                  </a:lnTo>
                  <a:lnTo>
                    <a:pt x="2701597" y="483325"/>
                  </a:lnTo>
                  <a:lnTo>
                    <a:pt x="1665516" y="483325"/>
                  </a:lnTo>
                  <a:close/>
                  <a:moveTo>
                    <a:pt x="969962" y="166589"/>
                  </a:moveTo>
                  <a:lnTo>
                    <a:pt x="1341077" y="166589"/>
                  </a:lnTo>
                  <a:lnTo>
                    <a:pt x="1341077" y="478100"/>
                  </a:lnTo>
                  <a:lnTo>
                    <a:pt x="969962" y="478100"/>
                  </a:lnTo>
                  <a:close/>
                  <a:moveTo>
                    <a:pt x="923925" y="0"/>
                  </a:moveTo>
                  <a:lnTo>
                    <a:pt x="1388702" y="0"/>
                  </a:lnTo>
                  <a:lnTo>
                    <a:pt x="1388702" y="145688"/>
                  </a:lnTo>
                  <a:lnTo>
                    <a:pt x="923925" y="145688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900"/>
            </a:p>
          </p:txBody>
        </p:sp>
      </p:grpSp>
      <p:sp>
        <p:nvSpPr>
          <p:cNvPr id="53" name="TextBox 32">
            <a:extLst>
              <a:ext uri="{FF2B5EF4-FFF2-40B4-BE49-F238E27FC236}">
                <a16:creationId xmlns:a16="http://schemas.microsoft.com/office/drawing/2014/main" id="{075359F2-687C-D91A-42A1-D6F03C903F0B}"/>
              </a:ext>
            </a:extLst>
          </p:cNvPr>
          <p:cNvSpPr txBox="1">
            <a:spLocks/>
          </p:cNvSpPr>
          <p:nvPr/>
        </p:nvSpPr>
        <p:spPr>
          <a:xfrm>
            <a:off x="8488043" y="3349360"/>
            <a:ext cx="2803094" cy="8156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bg1"/>
                </a:solidFill>
                <a:sym typeface="Futura"/>
              </a:rPr>
              <a:t>Lorem ipsum</a:t>
            </a:r>
          </a:p>
          <a:p>
            <a:pPr defTabSz="1087636">
              <a:defRPr/>
            </a:pPr>
            <a: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lang="en-US" sz="140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b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US" sz="140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140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lang="en-US" sz="140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BB8A2111-4A49-8568-8ED8-FE32B6CED38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14088" cy="32060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bg1"/>
                </a:solidFill>
              </a:rPr>
              <a:t>Keywords: </a:t>
            </a:r>
            <a:r>
              <a:rPr lang="en-US" sz="1000">
                <a:solidFill>
                  <a:schemeClr val="bg1"/>
                </a:solidFill>
              </a:rPr>
              <a:t>icebergs</a:t>
            </a:r>
          </a:p>
          <a:p>
            <a:pPr>
              <a:defRPr/>
            </a:pPr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452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